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bin" ContentType="application/vnd.openxmlformats-officedocument.oleObject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158.xml" ContentType="application/vnd.openxmlformats-officedocument.presentationml.slide+xml"/>
  <Override PartName="/ppt/tags/tag558.xml" ContentType="application/vnd.openxmlformats-officedocument.presentationml.tags+xml"/>
  <Override PartName="/ppt/tags/tag553.xml" ContentType="application/vnd.openxmlformats-officedocument.presentationml.tags+xml"/>
  <Override PartName="/ppt/tags/tag557.xml" ContentType="application/vnd.openxmlformats-officedocument.presentationml.tags+xml"/>
  <Override PartName="/ppt/tags/tag552.xml" ContentType="application/vnd.openxmlformats-officedocument.presentationml.tags+xml"/>
  <Override PartName="/ppt/tags/tag556.xml" ContentType="application/vnd.openxmlformats-officedocument.presentationml.tags+xml"/>
  <Override PartName="/ppt/notesSlides/notesSlide158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555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54.xml" ContentType="application/vnd.openxmlformats-officedocument.presentationml.tags+xml"/>
  <Override PartName="/ppt/tags/tag559.xml" ContentType="application/vnd.openxmlformats-officedocument.presentationml.tag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23" r:id="rId16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158.xml" Id="rId161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62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58.xml.rels>&#65279;<?xml version="1.0" encoding="utf-8"?><Relationships xmlns="http://schemas.openxmlformats.org/package/2006/relationships"><Relationship Type="http://schemas.openxmlformats.org/officeDocument/2006/relationships/slide" Target="/ppt/slides/slide158.xml" Id="rId2" /><Relationship Type="http://schemas.openxmlformats.org/officeDocument/2006/relationships/notesMaster" Target="/ppt/notesMasters/notesMaster1.xml" Id="rId1" /></Relationships>
</file>

<file path=ppt/notesSlides/notesSlide1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5926828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58.xml.rels>&#65279;<?xml version="1.0" encoding="utf-8"?><Relationships xmlns="http://schemas.openxmlformats.org/package/2006/relationships"><Relationship Type="http://schemas.openxmlformats.org/officeDocument/2006/relationships/tags" Target="/ppt/tags/tag558.xml" Id="rId8" /><Relationship Type="http://schemas.openxmlformats.org/officeDocument/2006/relationships/image" Target="/ppt/media/image4.emf" Id="rId13" /><Relationship Type="http://schemas.openxmlformats.org/officeDocument/2006/relationships/tags" Target="/ppt/tags/tag553.xml" Id="rId3" /><Relationship Type="http://schemas.openxmlformats.org/officeDocument/2006/relationships/tags" Target="/ppt/tags/tag557.xml" Id="rId7" /><Relationship Type="http://schemas.openxmlformats.org/officeDocument/2006/relationships/oleObject" Target="/ppt/embeddings/oleObject162.bin" Id="rId12" /><Relationship Type="http://schemas.openxmlformats.org/officeDocument/2006/relationships/tags" Target="/ppt/tags/tag552.xml" Id="rId2" /><Relationship Type="http://schemas.openxmlformats.org/officeDocument/2006/relationships/vmlDrawing" Target="/ppt/drawings/vmlDrawing162.vml" Id="rId1" /><Relationship Type="http://schemas.openxmlformats.org/officeDocument/2006/relationships/tags" Target="/ppt/tags/tag556.xml" Id="rId6" /><Relationship Type="http://schemas.openxmlformats.org/officeDocument/2006/relationships/notesSlide" Target="/ppt/notesSlides/notesSlide158.xml" Id="rId11" /><Relationship Type="http://schemas.openxmlformats.org/officeDocument/2006/relationships/tags" Target="/ppt/tags/tag555.xml" Id="rId5" /><Relationship Type="http://schemas.openxmlformats.org/officeDocument/2006/relationships/slideLayout" Target="/ppt/slideLayouts/slideLayout5.xml" Id="rId10" /><Relationship Type="http://schemas.openxmlformats.org/officeDocument/2006/relationships/tags" Target="/ppt/tags/tag554.xml" Id="rId4" /><Relationship Type="http://schemas.openxmlformats.org/officeDocument/2006/relationships/tags" Target="/ppt/tags/tag559.xml" Id="rId9" /></Relationships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247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47" name="think-cell 幻灯片" r:id="rId12" imgW="349" imgH="350" progId="TCLayout.ActiveDocument.1">
                  <p:embed/>
                </p:oleObj>
              </mc:Choice>
              <mc:Fallback>
                <p:oleObj name="think-cell 幻灯片" r:id="rId12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Circle segments I</a:t>
            </a:r>
          </a:p>
        </p:txBody>
      </p:sp>
      <p:sp>
        <p:nvSpPr>
          <p:cNvPr id="7" name="Freihandform: Form 18">
            <a:extLst>
              <a:ext uri="{FF2B5EF4-FFF2-40B4-BE49-F238E27FC236}">
                <a16:creationId xmlns:a16="http://schemas.microsoft.com/office/drawing/2014/main" id="{C72C8D60-0743-5CBD-9694-7B83D9539052}"/>
              </a:ext>
            </a:extLst>
          </p:cNvPr>
          <p:cNvSpPr>
            <a:spLocks/>
          </p:cNvSpPr>
          <p:nvPr/>
        </p:nvSpPr>
        <p:spPr>
          <a:xfrm>
            <a:off x="7668448" y="1562954"/>
            <a:ext cx="1117669" cy="1697666"/>
          </a:xfrm>
          <a:custGeom>
            <a:avLst/>
            <a:gdLst>
              <a:gd name="connsiteX0" fmla="*/ 0 w 692236"/>
              <a:gd name="connsiteY0" fmla="*/ 0 h 1051583"/>
              <a:gd name="connsiteX1" fmla="*/ 0 w 692236"/>
              <a:gd name="connsiteY1" fmla="*/ 445406 h 1051583"/>
              <a:gd name="connsiteX2" fmla="*/ 171687 w 692236"/>
              <a:gd name="connsiteY2" fmla="*/ 526624 h 1051583"/>
              <a:gd name="connsiteX3" fmla="*/ 247386 w 692236"/>
              <a:gd name="connsiteY3" fmla="*/ 713482 h 1051583"/>
              <a:gd name="connsiteX4" fmla="*/ 221362 w 692236"/>
              <a:gd name="connsiteY4" fmla="*/ 828803 h 1051583"/>
              <a:gd name="connsiteX5" fmla="*/ 607195 w 692236"/>
              <a:gd name="connsiteY5" fmla="*/ 1051583 h 1051583"/>
              <a:gd name="connsiteX6" fmla="*/ 692237 w 692236"/>
              <a:gd name="connsiteY6" fmla="*/ 713482 h 1051583"/>
              <a:gd name="connsiteX7" fmla="*/ 0 w 692236"/>
              <a:gd name="connsiteY7" fmla="*/ 0 h 1051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2236" h="1051583">
                <a:moveTo>
                  <a:pt x="0" y="0"/>
                </a:moveTo>
                <a:lnTo>
                  <a:pt x="0" y="445406"/>
                </a:lnTo>
                <a:cubicBezTo>
                  <a:pt x="65184" y="450586"/>
                  <a:pt x="125774" y="479170"/>
                  <a:pt x="171687" y="526624"/>
                </a:cubicBezTo>
                <a:cubicBezTo>
                  <a:pt x="220498" y="577100"/>
                  <a:pt x="247386" y="643456"/>
                  <a:pt x="247386" y="713482"/>
                </a:cubicBezTo>
                <a:cubicBezTo>
                  <a:pt x="247386" y="753351"/>
                  <a:pt x="238413" y="792973"/>
                  <a:pt x="221362" y="828803"/>
                </a:cubicBezTo>
                <a:lnTo>
                  <a:pt x="607195" y="1051583"/>
                </a:lnTo>
                <a:cubicBezTo>
                  <a:pt x="662851" y="948256"/>
                  <a:pt x="692237" y="831609"/>
                  <a:pt x="692237" y="713482"/>
                </a:cubicBezTo>
                <a:cubicBezTo>
                  <a:pt x="692237" y="328974"/>
                  <a:pt x="382842" y="11501"/>
                  <a:pt x="0" y="0"/>
                </a:cubicBezTo>
                <a:close/>
              </a:path>
            </a:pathLst>
          </a:custGeom>
          <a:solidFill>
            <a:schemeClr val="bg2"/>
          </a:solidFill>
          <a:ln w="30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2" name="Textfeld 3">
            <a:extLst>
              <a:ext uri="{FF2B5EF4-FFF2-40B4-BE49-F238E27FC236}">
                <a16:creationId xmlns:a16="http://schemas.microsoft.com/office/drawing/2014/main" id="{7B45B7D6-73C3-A000-6C03-E4F1DAFDFC9A}"/>
              </a:ext>
            </a:extLst>
          </p:cNvPr>
          <p:cNvSpPr txBox="1">
            <a:spLocks/>
          </p:cNvSpPr>
          <p:nvPr/>
        </p:nvSpPr>
        <p:spPr>
          <a:xfrm rot="18000000">
            <a:off x="6690077" y="1788538"/>
            <a:ext cx="1870376" cy="1853051"/>
          </a:xfrm>
          <a:prstGeom prst="rect">
            <a:avLst/>
          </a:prstGeom>
          <a:noFill/>
        </p:spPr>
        <p:txBody>
          <a:bodyPr wrap="none" lIns="0" tIns="0" rIns="0" bIns="0" rtlCol="0" anchor="ctr">
            <a:prstTxWarp prst="textArchUp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Lorem ipsum</a:t>
            </a:r>
          </a:p>
        </p:txBody>
      </p:sp>
      <p:sp>
        <p:nvSpPr>
          <p:cNvPr id="43" name="Textfeld 1">
            <a:extLst>
              <a:ext uri="{FF2B5EF4-FFF2-40B4-BE49-F238E27FC236}">
                <a16:creationId xmlns:a16="http://schemas.microsoft.com/office/drawing/2014/main" id="{3CB3E228-846F-A48A-2C95-E94DCF6B3543}"/>
              </a:ext>
            </a:extLst>
          </p:cNvPr>
          <p:cNvSpPr txBox="1">
            <a:spLocks/>
          </p:cNvSpPr>
          <p:nvPr/>
        </p:nvSpPr>
        <p:spPr>
          <a:xfrm rot="3600000">
            <a:off x="6690077" y="1788538"/>
            <a:ext cx="1870376" cy="1853051"/>
          </a:xfrm>
          <a:prstGeom prst="rect">
            <a:avLst/>
          </a:prstGeom>
          <a:noFill/>
        </p:spPr>
        <p:txBody>
          <a:bodyPr wrap="none" lIns="0" tIns="0" rIns="0" bIns="0" rtlCol="0" anchor="ctr">
            <a:prstTxWarp prst="textArchUp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ea typeface="Verdana" pitchFamily="34" charset="0"/>
                <a:cs typeface="Verdana" pitchFamily="34" charset="0"/>
              </a:rPr>
              <a:t>Lorem ipsum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9A3F8D0-5768-FBC7-176F-2160079E1845}"/>
              </a:ext>
            </a:extLst>
          </p:cNvPr>
          <p:cNvGrpSpPr>
            <a:grpSpLocks/>
          </p:cNvGrpSpPr>
          <p:nvPr/>
        </p:nvGrpSpPr>
        <p:grpSpPr>
          <a:xfrm>
            <a:off x="437260" y="1562951"/>
            <a:ext cx="2305038" cy="2304224"/>
            <a:chOff x="437260" y="1248626"/>
            <a:chExt cx="2305038" cy="2304224"/>
          </a:xfrm>
        </p:grpSpPr>
        <p:sp>
          <p:nvSpPr>
            <p:cNvPr id="33" name="Kreis: nicht ausgefüllt 34">
              <a:extLst>
                <a:ext uri="{FF2B5EF4-FFF2-40B4-BE49-F238E27FC236}">
                  <a16:creationId xmlns:a16="http://schemas.microsoft.com/office/drawing/2014/main" id="{3E27C77C-8A55-E20D-8763-49526AB24AF4}"/>
                </a:ext>
              </a:extLst>
            </p:cNvPr>
            <p:cNvSpPr>
              <a:spLocks/>
            </p:cNvSpPr>
            <p:nvPr/>
          </p:nvSpPr>
          <p:spPr>
            <a:xfrm>
              <a:off x="437260" y="1248626"/>
              <a:ext cx="2305038" cy="2304224"/>
            </a:xfrm>
            <a:prstGeom prst="donut">
              <a:avLst>
                <a:gd name="adj" fmla="val 31212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Textfeld 1">
              <a:extLst>
                <a:ext uri="{FF2B5EF4-FFF2-40B4-BE49-F238E27FC236}">
                  <a16:creationId xmlns:a16="http://schemas.microsoft.com/office/drawing/2014/main" id="{BB5792B1-7CB5-FACC-3D3A-4A00B626630D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652056" y="1463347"/>
              <a:ext cx="1875446" cy="1874783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>
                  <a:gd name="adj" fmla="val 355666"/>
                </a:avLst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ea typeface="Verdana" pitchFamily="34" charset="0"/>
                  <a:cs typeface="Verdana" pitchFamily="34" charset="0"/>
                </a:rPr>
                <a:t>Lorem ipsum dolor sit </a:t>
              </a:r>
              <a:r>
                <a:rPr lang="en-US" sz="1200" err="1">
                  <a:ea typeface="Verdana" pitchFamily="34" charset="0"/>
                  <a:cs typeface="Verdana" pitchFamily="34" charset="0"/>
                </a:rPr>
                <a:t>amet</a:t>
              </a:r>
              <a:endParaRPr lang="en-US" sz="1200"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63" name="01">
              <a:extLst>
                <a:ext uri="{FF2B5EF4-FFF2-40B4-BE49-F238E27FC236}">
                  <a16:creationId xmlns:a16="http://schemas.microsoft.com/office/drawing/2014/main" id="{9A5DFA1C-7B49-A583-F4DF-B7B7D8789225}"/>
                </a:ext>
              </a:extLst>
            </p:cNvPr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1232641" y="2043726"/>
              <a:ext cx="714276" cy="714024"/>
            </a:xfrm>
            <a:prstGeom prst="ellipse">
              <a:avLst/>
            </a:prstGeom>
            <a:noFill/>
            <a:ln w="6350">
              <a:solidFill>
                <a:schemeClr val="accent5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lang="en-US">
                  <a:solidFill>
                    <a:schemeClr val="tx2"/>
                  </a:solidFill>
                  <a:sym typeface="Futura"/>
                </a:rPr>
                <a:t>01</a:t>
              </a:r>
              <a:endParaRPr lang="en-US" sz="1200" b="1">
                <a:solidFill>
                  <a:schemeClr val="accent1"/>
                </a:solidFill>
                <a:sym typeface="Futura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D7F4C797-15F5-3175-0CB8-FC1752F08A10}"/>
              </a:ext>
            </a:extLst>
          </p:cNvPr>
          <p:cNvGrpSpPr>
            <a:grpSpLocks/>
          </p:cNvGrpSpPr>
          <p:nvPr/>
        </p:nvGrpSpPr>
        <p:grpSpPr>
          <a:xfrm>
            <a:off x="6481080" y="1562952"/>
            <a:ext cx="2132933" cy="2304230"/>
            <a:chOff x="6481080" y="1248627"/>
            <a:chExt cx="2132933" cy="2304230"/>
          </a:xfrm>
        </p:grpSpPr>
        <p:sp>
          <p:nvSpPr>
            <p:cNvPr id="6" name="Freihandform: Form 17">
              <a:extLst>
                <a:ext uri="{FF2B5EF4-FFF2-40B4-BE49-F238E27FC236}">
                  <a16:creationId xmlns:a16="http://schemas.microsoft.com/office/drawing/2014/main" id="{2A6C72ED-D0B2-6092-C48E-6AFB22BC00FB}"/>
                </a:ext>
              </a:extLst>
            </p:cNvPr>
            <p:cNvSpPr>
              <a:spLocks/>
            </p:cNvSpPr>
            <p:nvPr/>
          </p:nvSpPr>
          <p:spPr>
            <a:xfrm>
              <a:off x="6481080" y="1248627"/>
              <a:ext cx="1117669" cy="1697666"/>
            </a:xfrm>
            <a:custGeom>
              <a:avLst/>
              <a:gdLst>
                <a:gd name="connsiteX0" fmla="*/ 520550 w 692236"/>
                <a:gd name="connsiteY0" fmla="*/ 526624 h 1051583"/>
                <a:gd name="connsiteX1" fmla="*/ 692237 w 692236"/>
                <a:gd name="connsiteY1" fmla="*/ 445406 h 1051583"/>
                <a:gd name="connsiteX2" fmla="*/ 692237 w 692236"/>
                <a:gd name="connsiteY2" fmla="*/ 0 h 1051583"/>
                <a:gd name="connsiteX3" fmla="*/ 0 w 692236"/>
                <a:gd name="connsiteY3" fmla="*/ 713482 h 1051583"/>
                <a:gd name="connsiteX4" fmla="*/ 85042 w 692236"/>
                <a:gd name="connsiteY4" fmla="*/ 1051583 h 1051583"/>
                <a:gd name="connsiteX5" fmla="*/ 470875 w 692236"/>
                <a:gd name="connsiteY5" fmla="*/ 828803 h 1051583"/>
                <a:gd name="connsiteX6" fmla="*/ 444851 w 692236"/>
                <a:gd name="connsiteY6" fmla="*/ 713482 h 1051583"/>
                <a:gd name="connsiteX7" fmla="*/ 520550 w 692236"/>
                <a:gd name="connsiteY7" fmla="*/ 526624 h 1051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2236" h="1051583">
                  <a:moveTo>
                    <a:pt x="520550" y="526624"/>
                  </a:moveTo>
                  <a:cubicBezTo>
                    <a:pt x="566462" y="479139"/>
                    <a:pt x="627053" y="450586"/>
                    <a:pt x="692237" y="445406"/>
                  </a:cubicBezTo>
                  <a:lnTo>
                    <a:pt x="692237" y="0"/>
                  </a:lnTo>
                  <a:cubicBezTo>
                    <a:pt x="309394" y="11470"/>
                    <a:pt x="0" y="328974"/>
                    <a:pt x="0" y="713482"/>
                  </a:cubicBezTo>
                  <a:cubicBezTo>
                    <a:pt x="0" y="831609"/>
                    <a:pt x="29355" y="948256"/>
                    <a:pt x="85042" y="1051583"/>
                  </a:cubicBezTo>
                  <a:lnTo>
                    <a:pt x="470875" y="828803"/>
                  </a:lnTo>
                  <a:cubicBezTo>
                    <a:pt x="453824" y="792973"/>
                    <a:pt x="444851" y="753351"/>
                    <a:pt x="444851" y="713482"/>
                  </a:cubicBezTo>
                  <a:cubicBezTo>
                    <a:pt x="444851" y="643456"/>
                    <a:pt x="471739" y="577070"/>
                    <a:pt x="520550" y="526624"/>
                  </a:cubicBezTo>
                  <a:close/>
                </a:path>
              </a:pathLst>
            </a:custGeom>
            <a:solidFill>
              <a:schemeClr val="accent1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ihandform: Form 19">
              <a:extLst>
                <a:ext uri="{FF2B5EF4-FFF2-40B4-BE49-F238E27FC236}">
                  <a16:creationId xmlns:a16="http://schemas.microsoft.com/office/drawing/2014/main" id="{10A239E1-B87F-C514-F4D0-A277F98BA7B6}"/>
                </a:ext>
              </a:extLst>
            </p:cNvPr>
            <p:cNvSpPr>
              <a:spLocks/>
            </p:cNvSpPr>
            <p:nvPr/>
          </p:nvSpPr>
          <p:spPr>
            <a:xfrm>
              <a:off x="6653286" y="2646976"/>
              <a:ext cx="1960727" cy="905881"/>
            </a:xfrm>
            <a:custGeom>
              <a:avLst/>
              <a:gdLst>
                <a:gd name="connsiteX0" fmla="*/ 1214359 w 1214389"/>
                <a:gd name="connsiteY0" fmla="*/ 222811 h 561128"/>
                <a:gd name="connsiteX1" fmla="*/ 828495 w 1214389"/>
                <a:gd name="connsiteY1" fmla="*/ 0 h 561128"/>
                <a:gd name="connsiteX2" fmla="*/ 607164 w 1214389"/>
                <a:gd name="connsiteY2" fmla="*/ 116277 h 561128"/>
                <a:gd name="connsiteX3" fmla="*/ 385864 w 1214389"/>
                <a:gd name="connsiteY3" fmla="*/ 0 h 561128"/>
                <a:gd name="connsiteX4" fmla="*/ 0 w 1214389"/>
                <a:gd name="connsiteY4" fmla="*/ 222811 h 561128"/>
                <a:gd name="connsiteX5" fmla="*/ 607195 w 1214389"/>
                <a:gd name="connsiteY5" fmla="*/ 561128 h 561128"/>
                <a:gd name="connsiteX6" fmla="*/ 1214390 w 1214389"/>
                <a:gd name="connsiteY6" fmla="*/ 222811 h 561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4389" h="561128">
                  <a:moveTo>
                    <a:pt x="1214359" y="222811"/>
                  </a:moveTo>
                  <a:lnTo>
                    <a:pt x="828495" y="0"/>
                  </a:lnTo>
                  <a:cubicBezTo>
                    <a:pt x="778080" y="73047"/>
                    <a:pt x="696214" y="116277"/>
                    <a:pt x="607164" y="116277"/>
                  </a:cubicBezTo>
                  <a:cubicBezTo>
                    <a:pt x="518114" y="116277"/>
                    <a:pt x="436248" y="73047"/>
                    <a:pt x="385864" y="0"/>
                  </a:cubicBezTo>
                  <a:lnTo>
                    <a:pt x="0" y="222811"/>
                  </a:lnTo>
                  <a:cubicBezTo>
                    <a:pt x="129598" y="431808"/>
                    <a:pt x="361073" y="561128"/>
                    <a:pt x="607195" y="561128"/>
                  </a:cubicBezTo>
                  <a:cubicBezTo>
                    <a:pt x="853317" y="561128"/>
                    <a:pt x="1084792" y="431808"/>
                    <a:pt x="1214390" y="222811"/>
                  </a:cubicBezTo>
                  <a:close/>
                </a:path>
              </a:pathLst>
            </a:custGeom>
            <a:solidFill>
              <a:schemeClr val="bg2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Textfeld 2">
              <a:extLst>
                <a:ext uri="{FF2B5EF4-FFF2-40B4-BE49-F238E27FC236}">
                  <a16:creationId xmlns:a16="http://schemas.microsoft.com/office/drawing/2014/main" id="{9B348906-C12C-9E54-52C3-F5A5D547029A}"/>
                </a:ext>
              </a:extLst>
            </p:cNvPr>
            <p:cNvSpPr txBox="1">
              <a:spLocks/>
            </p:cNvSpPr>
            <p:nvPr/>
          </p:nvSpPr>
          <p:spPr>
            <a:xfrm>
              <a:off x="6714754" y="1465880"/>
              <a:ext cx="1853704" cy="18697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>
                  <a:gd name="adj" fmla="val 355666"/>
                </a:avLst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ea typeface="Verdana" pitchFamily="34" charset="0"/>
                  <a:cs typeface="Verdana" pitchFamily="34" charset="0"/>
                </a:rPr>
                <a:t>Lorem ipsum</a:t>
              </a:r>
            </a:p>
          </p:txBody>
        </p:sp>
        <p:sp>
          <p:nvSpPr>
            <p:cNvPr id="64" name="03">
              <a:extLst>
                <a:ext uri="{FF2B5EF4-FFF2-40B4-BE49-F238E27FC236}">
                  <a16:creationId xmlns:a16="http://schemas.microsoft.com/office/drawing/2014/main" id="{BA757773-89D1-9B54-64E5-487EE1F5352F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7276462" y="2043726"/>
              <a:ext cx="714276" cy="714024"/>
            </a:xfrm>
            <a:prstGeom prst="ellipse">
              <a:avLst/>
            </a:prstGeom>
            <a:noFill/>
            <a:ln w="6350">
              <a:solidFill>
                <a:schemeClr val="accent5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lang="en-US">
                  <a:solidFill>
                    <a:schemeClr val="tx2"/>
                  </a:solidFill>
                  <a:sym typeface="Futura"/>
                </a:rPr>
                <a:t>03</a:t>
              </a:r>
              <a:endParaRPr lang="en-US" sz="1200" b="1">
                <a:solidFill>
                  <a:schemeClr val="accent1"/>
                </a:solidFill>
                <a:sym typeface="Futura"/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14EC9462-FFE5-C28D-616F-24C008739793}"/>
              </a:ext>
            </a:extLst>
          </p:cNvPr>
          <p:cNvGrpSpPr>
            <a:grpSpLocks/>
          </p:cNvGrpSpPr>
          <p:nvPr/>
        </p:nvGrpSpPr>
        <p:grpSpPr>
          <a:xfrm>
            <a:off x="9502984" y="1562951"/>
            <a:ext cx="2305040" cy="2304224"/>
            <a:chOff x="9502984" y="1248626"/>
            <a:chExt cx="2305040" cy="2304224"/>
          </a:xfrm>
        </p:grpSpPr>
        <p:sp>
          <p:nvSpPr>
            <p:cNvPr id="11" name="Freihandform: Form 21">
              <a:extLst>
                <a:ext uri="{FF2B5EF4-FFF2-40B4-BE49-F238E27FC236}">
                  <a16:creationId xmlns:a16="http://schemas.microsoft.com/office/drawing/2014/main" id="{F3E2A3FD-1B92-D075-7026-55964FA64482}"/>
                </a:ext>
              </a:extLst>
            </p:cNvPr>
            <p:cNvSpPr>
              <a:spLocks/>
            </p:cNvSpPr>
            <p:nvPr/>
          </p:nvSpPr>
          <p:spPr>
            <a:xfrm>
              <a:off x="10690394" y="1248626"/>
              <a:ext cx="1117630" cy="1117260"/>
            </a:xfrm>
            <a:custGeom>
              <a:avLst/>
              <a:gdLst>
                <a:gd name="connsiteX0" fmla="*/ 246492 w 691897"/>
                <a:gd name="connsiteY0" fmla="*/ 691928 h 691928"/>
                <a:gd name="connsiteX1" fmla="*/ 691898 w 691897"/>
                <a:gd name="connsiteY1" fmla="*/ 691928 h 691928"/>
                <a:gd name="connsiteX2" fmla="*/ 0 w 691897"/>
                <a:gd name="connsiteY2" fmla="*/ 0 h 691928"/>
                <a:gd name="connsiteX3" fmla="*/ 0 w 691897"/>
                <a:gd name="connsiteY3" fmla="*/ 445406 h 691928"/>
                <a:gd name="connsiteX4" fmla="*/ 246523 w 691897"/>
                <a:gd name="connsiteY4" fmla="*/ 691928 h 691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1897" h="691928">
                  <a:moveTo>
                    <a:pt x="246492" y="691928"/>
                  </a:moveTo>
                  <a:lnTo>
                    <a:pt x="691898" y="691928"/>
                  </a:lnTo>
                  <a:cubicBezTo>
                    <a:pt x="680643" y="317936"/>
                    <a:pt x="373962" y="11255"/>
                    <a:pt x="0" y="0"/>
                  </a:cubicBezTo>
                  <a:lnTo>
                    <a:pt x="0" y="445406"/>
                  </a:lnTo>
                  <a:cubicBezTo>
                    <a:pt x="130862" y="455859"/>
                    <a:pt x="236039" y="561066"/>
                    <a:pt x="246523" y="691928"/>
                  </a:cubicBezTo>
                  <a:close/>
                </a:path>
              </a:pathLst>
            </a:custGeom>
            <a:solidFill>
              <a:schemeClr val="bg2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ihandform: Form 22">
              <a:extLst>
                <a:ext uri="{FF2B5EF4-FFF2-40B4-BE49-F238E27FC236}">
                  <a16:creationId xmlns:a16="http://schemas.microsoft.com/office/drawing/2014/main" id="{D9E9DEDD-F7BE-04A3-5FF6-810F872EE1A3}"/>
                </a:ext>
              </a:extLst>
            </p:cNvPr>
            <p:cNvSpPr>
              <a:spLocks/>
            </p:cNvSpPr>
            <p:nvPr/>
          </p:nvSpPr>
          <p:spPr>
            <a:xfrm>
              <a:off x="10690345" y="2435590"/>
              <a:ext cx="1117630" cy="1117260"/>
            </a:xfrm>
            <a:custGeom>
              <a:avLst/>
              <a:gdLst>
                <a:gd name="connsiteX0" fmla="*/ 246522 w 691897"/>
                <a:gd name="connsiteY0" fmla="*/ 0 h 691928"/>
                <a:gd name="connsiteX1" fmla="*/ 0 w 691897"/>
                <a:gd name="connsiteY1" fmla="*/ 246523 h 691928"/>
                <a:gd name="connsiteX2" fmla="*/ 0 w 691897"/>
                <a:gd name="connsiteY2" fmla="*/ 691928 h 691928"/>
                <a:gd name="connsiteX3" fmla="*/ 691897 w 691897"/>
                <a:gd name="connsiteY3" fmla="*/ 31 h 691928"/>
                <a:gd name="connsiteX4" fmla="*/ 246492 w 691897"/>
                <a:gd name="connsiteY4" fmla="*/ 31 h 691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1897" h="691928">
                  <a:moveTo>
                    <a:pt x="246522" y="0"/>
                  </a:moveTo>
                  <a:cubicBezTo>
                    <a:pt x="236069" y="130862"/>
                    <a:pt x="130862" y="236039"/>
                    <a:pt x="0" y="246523"/>
                  </a:cubicBezTo>
                  <a:lnTo>
                    <a:pt x="0" y="691928"/>
                  </a:lnTo>
                  <a:cubicBezTo>
                    <a:pt x="373962" y="680674"/>
                    <a:pt x="680643" y="373993"/>
                    <a:pt x="691897" y="31"/>
                  </a:cubicBezTo>
                  <a:lnTo>
                    <a:pt x="246492" y="31"/>
                  </a:lnTo>
                  <a:close/>
                </a:path>
              </a:pathLst>
            </a:custGeom>
            <a:solidFill>
              <a:schemeClr val="bg2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ihandform: Form 23">
              <a:extLst>
                <a:ext uri="{FF2B5EF4-FFF2-40B4-BE49-F238E27FC236}">
                  <a16:creationId xmlns:a16="http://schemas.microsoft.com/office/drawing/2014/main" id="{D1E76CFC-3602-024A-9317-3B94DB1DA6A0}"/>
                </a:ext>
              </a:extLst>
            </p:cNvPr>
            <p:cNvSpPr>
              <a:spLocks/>
            </p:cNvSpPr>
            <p:nvPr/>
          </p:nvSpPr>
          <p:spPr>
            <a:xfrm>
              <a:off x="9502984" y="2435541"/>
              <a:ext cx="1117630" cy="1117260"/>
            </a:xfrm>
            <a:custGeom>
              <a:avLst/>
              <a:gdLst>
                <a:gd name="connsiteX0" fmla="*/ 445406 w 691897"/>
                <a:gd name="connsiteY0" fmla="*/ 31 h 691928"/>
                <a:gd name="connsiteX1" fmla="*/ 0 w 691897"/>
                <a:gd name="connsiteY1" fmla="*/ 31 h 691928"/>
                <a:gd name="connsiteX2" fmla="*/ 691898 w 691897"/>
                <a:gd name="connsiteY2" fmla="*/ 691928 h 691928"/>
                <a:gd name="connsiteX3" fmla="*/ 691898 w 691897"/>
                <a:gd name="connsiteY3" fmla="*/ 246523 h 691928"/>
                <a:gd name="connsiteX4" fmla="*/ 445375 w 691897"/>
                <a:gd name="connsiteY4" fmla="*/ 0 h 691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1897" h="691928">
                  <a:moveTo>
                    <a:pt x="445406" y="31"/>
                  </a:moveTo>
                  <a:lnTo>
                    <a:pt x="0" y="31"/>
                  </a:lnTo>
                  <a:cubicBezTo>
                    <a:pt x="11254" y="373993"/>
                    <a:pt x="317936" y="680674"/>
                    <a:pt x="691898" y="691928"/>
                  </a:cubicBezTo>
                  <a:lnTo>
                    <a:pt x="691898" y="246523"/>
                  </a:lnTo>
                  <a:cubicBezTo>
                    <a:pt x="561035" y="236070"/>
                    <a:pt x="455859" y="130862"/>
                    <a:pt x="445375" y="0"/>
                  </a:cubicBezTo>
                  <a:close/>
                </a:path>
              </a:pathLst>
            </a:custGeom>
            <a:solidFill>
              <a:schemeClr val="bg2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ihandform: Form 24">
              <a:extLst>
                <a:ext uri="{FF2B5EF4-FFF2-40B4-BE49-F238E27FC236}">
                  <a16:creationId xmlns:a16="http://schemas.microsoft.com/office/drawing/2014/main" id="{B5067E80-DE49-82E7-6065-94FC8D975E1D}"/>
                </a:ext>
              </a:extLst>
            </p:cNvPr>
            <p:cNvSpPr>
              <a:spLocks/>
            </p:cNvSpPr>
            <p:nvPr/>
          </p:nvSpPr>
          <p:spPr>
            <a:xfrm>
              <a:off x="9503032" y="1248626"/>
              <a:ext cx="1117630" cy="1117260"/>
            </a:xfrm>
            <a:custGeom>
              <a:avLst/>
              <a:gdLst>
                <a:gd name="connsiteX0" fmla="*/ 445375 w 691897"/>
                <a:gd name="connsiteY0" fmla="*/ 691928 h 691928"/>
                <a:gd name="connsiteX1" fmla="*/ 691897 w 691897"/>
                <a:gd name="connsiteY1" fmla="*/ 445406 h 691928"/>
                <a:gd name="connsiteX2" fmla="*/ 691897 w 691897"/>
                <a:gd name="connsiteY2" fmla="*/ 0 h 691928"/>
                <a:gd name="connsiteX3" fmla="*/ 0 w 691897"/>
                <a:gd name="connsiteY3" fmla="*/ 691898 h 691928"/>
                <a:gd name="connsiteX4" fmla="*/ 445406 w 691897"/>
                <a:gd name="connsiteY4" fmla="*/ 691898 h 691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1897" h="691928">
                  <a:moveTo>
                    <a:pt x="445375" y="691928"/>
                  </a:moveTo>
                  <a:cubicBezTo>
                    <a:pt x="455828" y="561066"/>
                    <a:pt x="561035" y="455890"/>
                    <a:pt x="691897" y="445406"/>
                  </a:cubicBezTo>
                  <a:lnTo>
                    <a:pt x="691897" y="0"/>
                  </a:lnTo>
                  <a:cubicBezTo>
                    <a:pt x="317936" y="11255"/>
                    <a:pt x="11254" y="317936"/>
                    <a:pt x="0" y="691898"/>
                  </a:cubicBezTo>
                  <a:lnTo>
                    <a:pt x="445406" y="691898"/>
                  </a:lnTo>
                  <a:close/>
                </a:path>
              </a:pathLst>
            </a:custGeom>
            <a:solidFill>
              <a:schemeClr val="accent1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Textfeld 2">
              <a:extLst>
                <a:ext uri="{FF2B5EF4-FFF2-40B4-BE49-F238E27FC236}">
                  <a16:creationId xmlns:a16="http://schemas.microsoft.com/office/drawing/2014/main" id="{B2996D77-74C5-42E4-9FD2-BD532AF5804A}"/>
                </a:ext>
              </a:extLst>
            </p:cNvPr>
            <p:cNvSpPr txBox="1">
              <a:spLocks/>
            </p:cNvSpPr>
            <p:nvPr/>
          </p:nvSpPr>
          <p:spPr>
            <a:xfrm rot="18900000">
              <a:off x="9728654" y="1466209"/>
              <a:ext cx="1853703" cy="186905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>
                  <a:gd name="adj" fmla="val 355666"/>
                </a:avLst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ea typeface="Verdana" pitchFamily="34" charset="0"/>
                  <a:cs typeface="Verdana" pitchFamily="34" charset="0"/>
                </a:rPr>
                <a:t>Lorem ipsum</a:t>
              </a:r>
            </a:p>
          </p:txBody>
        </p:sp>
        <p:sp>
          <p:nvSpPr>
            <p:cNvPr id="47" name="Textfeld 3">
              <a:extLst>
                <a:ext uri="{FF2B5EF4-FFF2-40B4-BE49-F238E27FC236}">
                  <a16:creationId xmlns:a16="http://schemas.microsoft.com/office/drawing/2014/main" id="{1A0E4F8F-B7EE-96AE-666E-D96CD9B783E9}"/>
                </a:ext>
              </a:extLst>
            </p:cNvPr>
            <p:cNvSpPr txBox="1">
              <a:spLocks/>
            </p:cNvSpPr>
            <p:nvPr/>
          </p:nvSpPr>
          <p:spPr>
            <a:xfrm rot="2700000">
              <a:off x="9720647" y="1474213"/>
              <a:ext cx="1869717" cy="185304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>
                  <a:gd name="adj" fmla="val 355666"/>
                </a:avLst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ea typeface="Verdana" pitchFamily="34" charset="0"/>
                  <a:cs typeface="Verdana" pitchFamily="34" charset="0"/>
                </a:rPr>
                <a:t>Lorem ipsum</a:t>
              </a:r>
            </a:p>
          </p:txBody>
        </p:sp>
        <p:sp>
          <p:nvSpPr>
            <p:cNvPr id="48" name="Textfeld 1">
              <a:extLst>
                <a:ext uri="{FF2B5EF4-FFF2-40B4-BE49-F238E27FC236}">
                  <a16:creationId xmlns:a16="http://schemas.microsoft.com/office/drawing/2014/main" id="{F615FE7C-3407-134D-1B91-FE162C0B5F1E}"/>
                </a:ext>
              </a:extLst>
            </p:cNvPr>
            <p:cNvSpPr txBox="1">
              <a:spLocks/>
            </p:cNvSpPr>
            <p:nvPr/>
          </p:nvSpPr>
          <p:spPr>
            <a:xfrm rot="2700000">
              <a:off x="9720646" y="1474213"/>
              <a:ext cx="1869717" cy="185304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Up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ea typeface="Verdana" pitchFamily="34" charset="0"/>
                  <a:cs typeface="Verdana" pitchFamily="34" charset="0"/>
                </a:rPr>
                <a:t>Lorem ipsum</a:t>
              </a:r>
            </a:p>
          </p:txBody>
        </p:sp>
        <p:sp>
          <p:nvSpPr>
            <p:cNvPr id="49" name="Textfeld 4">
              <a:extLst>
                <a:ext uri="{FF2B5EF4-FFF2-40B4-BE49-F238E27FC236}">
                  <a16:creationId xmlns:a16="http://schemas.microsoft.com/office/drawing/2014/main" id="{AB0EB881-587E-4A4D-AEE1-88A4DB08E2B5}"/>
                </a:ext>
              </a:extLst>
            </p:cNvPr>
            <p:cNvSpPr txBox="1">
              <a:spLocks/>
            </p:cNvSpPr>
            <p:nvPr/>
          </p:nvSpPr>
          <p:spPr>
            <a:xfrm rot="18900000">
              <a:off x="9728653" y="1466207"/>
              <a:ext cx="1853703" cy="186905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Up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 ipsum</a:t>
              </a:r>
            </a:p>
          </p:txBody>
        </p:sp>
        <p:sp>
          <p:nvSpPr>
            <p:cNvPr id="65" name="04">
              <a:extLst>
                <a:ext uri="{FF2B5EF4-FFF2-40B4-BE49-F238E27FC236}">
                  <a16:creationId xmlns:a16="http://schemas.microsoft.com/office/drawing/2014/main" id="{03D733B5-32C6-02F8-4464-5F4A7C1E3035}"/>
                </a:ext>
              </a:extLst>
            </p:cNvPr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10298367" y="2043726"/>
              <a:ext cx="714276" cy="714024"/>
            </a:xfrm>
            <a:prstGeom prst="ellipse">
              <a:avLst/>
            </a:prstGeom>
            <a:noFill/>
            <a:ln w="6350">
              <a:solidFill>
                <a:schemeClr val="accent5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lang="en-US">
                  <a:solidFill>
                    <a:schemeClr val="tx2"/>
                  </a:solidFill>
                  <a:sym typeface="Futura"/>
                </a:rPr>
                <a:t>04</a:t>
              </a:r>
              <a:endParaRPr lang="en-US" sz="1200" b="1">
                <a:solidFill>
                  <a:schemeClr val="accent1"/>
                </a:solidFill>
                <a:sym typeface="Futura"/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80526187-764A-6FB6-1DFD-D19D246FC0F4}"/>
              </a:ext>
            </a:extLst>
          </p:cNvPr>
          <p:cNvGrpSpPr>
            <a:grpSpLocks/>
          </p:cNvGrpSpPr>
          <p:nvPr/>
        </p:nvGrpSpPr>
        <p:grpSpPr>
          <a:xfrm>
            <a:off x="1948213" y="3767925"/>
            <a:ext cx="2305036" cy="2304226"/>
            <a:chOff x="1948213" y="3796500"/>
            <a:chExt cx="2305036" cy="2304226"/>
          </a:xfrm>
        </p:grpSpPr>
        <p:sp>
          <p:nvSpPr>
            <p:cNvPr id="15" name="Freihandform: Form 26">
              <a:extLst>
                <a:ext uri="{FF2B5EF4-FFF2-40B4-BE49-F238E27FC236}">
                  <a16:creationId xmlns:a16="http://schemas.microsoft.com/office/drawing/2014/main" id="{11F95145-D4D7-FF32-BD41-7D61E6F5D8FF}"/>
                </a:ext>
              </a:extLst>
            </p:cNvPr>
            <p:cNvSpPr>
              <a:spLocks/>
            </p:cNvSpPr>
            <p:nvPr/>
          </p:nvSpPr>
          <p:spPr>
            <a:xfrm>
              <a:off x="1948213" y="4625471"/>
              <a:ext cx="869989" cy="1234323"/>
            </a:xfrm>
            <a:custGeom>
              <a:avLst/>
              <a:gdLst>
                <a:gd name="connsiteX0" fmla="*/ 444820 w 538834"/>
                <a:gd name="connsiteY0" fmla="*/ 200024 h 764574"/>
                <a:gd name="connsiteX1" fmla="*/ 452128 w 538834"/>
                <a:gd name="connsiteY1" fmla="*/ 137707 h 764574"/>
                <a:gd name="connsiteX2" fmla="*/ 28399 w 538834"/>
                <a:gd name="connsiteY2" fmla="*/ 0 h 764574"/>
                <a:gd name="connsiteX3" fmla="*/ 0 w 538834"/>
                <a:gd name="connsiteY3" fmla="*/ 200024 h 764574"/>
                <a:gd name="connsiteX4" fmla="*/ 276957 w 538834"/>
                <a:gd name="connsiteY4" fmla="*/ 764575 h 764574"/>
                <a:gd name="connsiteX5" fmla="*/ 538835 w 538834"/>
                <a:gd name="connsiteY5" fmla="*/ 404118 h 764574"/>
                <a:gd name="connsiteX6" fmla="*/ 444851 w 538834"/>
                <a:gd name="connsiteY6" fmla="*/ 200024 h 764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8834" h="764574">
                  <a:moveTo>
                    <a:pt x="444820" y="200024"/>
                  </a:moveTo>
                  <a:cubicBezTo>
                    <a:pt x="444820" y="178933"/>
                    <a:pt x="447256" y="158027"/>
                    <a:pt x="452128" y="137707"/>
                  </a:cubicBezTo>
                  <a:lnTo>
                    <a:pt x="28399" y="0"/>
                  </a:lnTo>
                  <a:cubicBezTo>
                    <a:pt x="9559" y="64753"/>
                    <a:pt x="0" y="131972"/>
                    <a:pt x="0" y="200024"/>
                  </a:cubicBezTo>
                  <a:cubicBezTo>
                    <a:pt x="0" y="423205"/>
                    <a:pt x="100768" y="628255"/>
                    <a:pt x="276957" y="764575"/>
                  </a:cubicBezTo>
                  <a:lnTo>
                    <a:pt x="538835" y="404118"/>
                  </a:lnTo>
                  <a:cubicBezTo>
                    <a:pt x="478954" y="352810"/>
                    <a:pt x="444851" y="279084"/>
                    <a:pt x="444851" y="200024"/>
                  </a:cubicBezTo>
                  <a:close/>
                </a:path>
              </a:pathLst>
            </a:custGeom>
            <a:solidFill>
              <a:schemeClr val="bg2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ihandform: Form 27">
              <a:extLst>
                <a:ext uri="{FF2B5EF4-FFF2-40B4-BE49-F238E27FC236}">
                  <a16:creationId xmlns:a16="http://schemas.microsoft.com/office/drawing/2014/main" id="{E648DD4F-67CE-34F3-2BA4-E5FA6F4F5C7D}"/>
                </a:ext>
              </a:extLst>
            </p:cNvPr>
            <p:cNvSpPr>
              <a:spLocks/>
            </p:cNvSpPr>
            <p:nvPr/>
          </p:nvSpPr>
          <p:spPr>
            <a:xfrm>
              <a:off x="2015521" y="3796500"/>
              <a:ext cx="1050310" cy="984980"/>
            </a:xfrm>
            <a:custGeom>
              <a:avLst/>
              <a:gdLst>
                <a:gd name="connsiteX0" fmla="*/ 423791 w 650517"/>
                <a:gd name="connsiteY0" fmla="*/ 610124 h 610124"/>
                <a:gd name="connsiteX1" fmla="*/ 650517 w 650517"/>
                <a:gd name="connsiteY1" fmla="*/ 445406 h 610124"/>
                <a:gd name="connsiteX2" fmla="*/ 650517 w 650517"/>
                <a:gd name="connsiteY2" fmla="*/ 0 h 610124"/>
                <a:gd name="connsiteX3" fmla="*/ 0 w 650517"/>
                <a:gd name="connsiteY3" fmla="*/ 472386 h 610124"/>
                <a:gd name="connsiteX4" fmla="*/ 423791 w 650517"/>
                <a:gd name="connsiteY4" fmla="*/ 610093 h 61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0517" h="610124">
                  <a:moveTo>
                    <a:pt x="423791" y="610124"/>
                  </a:moveTo>
                  <a:cubicBezTo>
                    <a:pt x="462735" y="516634"/>
                    <a:pt x="549781" y="453392"/>
                    <a:pt x="650517" y="445406"/>
                  </a:cubicBezTo>
                  <a:lnTo>
                    <a:pt x="650517" y="0"/>
                  </a:lnTo>
                  <a:cubicBezTo>
                    <a:pt x="357743" y="8788"/>
                    <a:pt x="98856" y="196756"/>
                    <a:pt x="0" y="472386"/>
                  </a:cubicBezTo>
                  <a:lnTo>
                    <a:pt x="423791" y="610093"/>
                  </a:lnTo>
                  <a:close/>
                </a:path>
              </a:pathLst>
            </a:custGeom>
            <a:solidFill>
              <a:schemeClr val="accent1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ihandform: Form 28">
              <a:extLst>
                <a:ext uri="{FF2B5EF4-FFF2-40B4-BE49-F238E27FC236}">
                  <a16:creationId xmlns:a16="http://schemas.microsoft.com/office/drawing/2014/main" id="{5D4DB487-26BE-B24E-6831-C3314DD978C5}"/>
                </a:ext>
              </a:extLst>
            </p:cNvPr>
            <p:cNvSpPr>
              <a:spLocks/>
            </p:cNvSpPr>
            <p:nvPr/>
          </p:nvSpPr>
          <p:spPr>
            <a:xfrm>
              <a:off x="2451688" y="5318895"/>
              <a:ext cx="1297939" cy="781831"/>
            </a:xfrm>
            <a:custGeom>
              <a:avLst/>
              <a:gdLst>
                <a:gd name="connsiteX0" fmla="*/ 401959 w 803888"/>
                <a:gd name="connsiteY0" fmla="*/ 39437 h 484288"/>
                <a:gd name="connsiteX1" fmla="*/ 261878 w 803888"/>
                <a:gd name="connsiteY1" fmla="*/ 0 h 484288"/>
                <a:gd name="connsiteX2" fmla="*/ 0 w 803888"/>
                <a:gd name="connsiteY2" fmla="*/ 360426 h 484288"/>
                <a:gd name="connsiteX3" fmla="*/ 401959 w 803888"/>
                <a:gd name="connsiteY3" fmla="*/ 484288 h 484288"/>
                <a:gd name="connsiteX4" fmla="*/ 803889 w 803888"/>
                <a:gd name="connsiteY4" fmla="*/ 360426 h 484288"/>
                <a:gd name="connsiteX5" fmla="*/ 542042 w 803888"/>
                <a:gd name="connsiteY5" fmla="*/ 0 h 484288"/>
                <a:gd name="connsiteX6" fmla="*/ 401959 w 803888"/>
                <a:gd name="connsiteY6" fmla="*/ 39437 h 484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3888" h="484288">
                  <a:moveTo>
                    <a:pt x="401959" y="39437"/>
                  </a:moveTo>
                  <a:cubicBezTo>
                    <a:pt x="352224" y="39437"/>
                    <a:pt x="304060" y="25839"/>
                    <a:pt x="261878" y="0"/>
                  </a:cubicBezTo>
                  <a:lnTo>
                    <a:pt x="0" y="360426"/>
                  </a:lnTo>
                  <a:cubicBezTo>
                    <a:pt x="118713" y="441521"/>
                    <a:pt x="257407" y="484288"/>
                    <a:pt x="401959" y="484288"/>
                  </a:cubicBezTo>
                  <a:cubicBezTo>
                    <a:pt x="546512" y="484288"/>
                    <a:pt x="685206" y="441490"/>
                    <a:pt x="803889" y="360426"/>
                  </a:cubicBezTo>
                  <a:lnTo>
                    <a:pt x="542042" y="0"/>
                  </a:lnTo>
                  <a:cubicBezTo>
                    <a:pt x="499859" y="25839"/>
                    <a:pt x="451665" y="39437"/>
                    <a:pt x="401959" y="39437"/>
                  </a:cubicBezTo>
                  <a:close/>
                </a:path>
              </a:pathLst>
            </a:custGeom>
            <a:solidFill>
              <a:schemeClr val="bg2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ihandform: Form 29">
              <a:extLst>
                <a:ext uri="{FF2B5EF4-FFF2-40B4-BE49-F238E27FC236}">
                  <a16:creationId xmlns:a16="http://schemas.microsoft.com/office/drawing/2014/main" id="{151BBE79-693D-9F49-A8D9-9338335CADD8}"/>
                </a:ext>
              </a:extLst>
            </p:cNvPr>
            <p:cNvSpPr>
              <a:spLocks/>
            </p:cNvSpPr>
            <p:nvPr/>
          </p:nvSpPr>
          <p:spPr>
            <a:xfrm>
              <a:off x="3135531" y="3796500"/>
              <a:ext cx="1050310" cy="984980"/>
            </a:xfrm>
            <a:custGeom>
              <a:avLst/>
              <a:gdLst>
                <a:gd name="connsiteX0" fmla="*/ 226727 w 650517"/>
                <a:gd name="connsiteY0" fmla="*/ 610124 h 610124"/>
                <a:gd name="connsiteX1" fmla="*/ 650517 w 650517"/>
                <a:gd name="connsiteY1" fmla="*/ 472417 h 610124"/>
                <a:gd name="connsiteX2" fmla="*/ 0 w 650517"/>
                <a:gd name="connsiteY2" fmla="*/ 0 h 610124"/>
                <a:gd name="connsiteX3" fmla="*/ 0 w 650517"/>
                <a:gd name="connsiteY3" fmla="*/ 445406 h 610124"/>
                <a:gd name="connsiteX4" fmla="*/ 226727 w 650517"/>
                <a:gd name="connsiteY4" fmla="*/ 610124 h 61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0517" h="610124">
                  <a:moveTo>
                    <a:pt x="226727" y="610124"/>
                  </a:moveTo>
                  <a:lnTo>
                    <a:pt x="650517" y="472417"/>
                  </a:lnTo>
                  <a:cubicBezTo>
                    <a:pt x="551662" y="196756"/>
                    <a:pt x="292775" y="8788"/>
                    <a:pt x="0" y="0"/>
                  </a:cubicBezTo>
                  <a:lnTo>
                    <a:pt x="0" y="445406"/>
                  </a:lnTo>
                  <a:cubicBezTo>
                    <a:pt x="100737" y="453392"/>
                    <a:pt x="187783" y="516634"/>
                    <a:pt x="226727" y="610124"/>
                  </a:cubicBezTo>
                  <a:close/>
                </a:path>
              </a:pathLst>
            </a:custGeom>
            <a:solidFill>
              <a:schemeClr val="bg2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ihandform: Form 30">
              <a:extLst>
                <a:ext uri="{FF2B5EF4-FFF2-40B4-BE49-F238E27FC236}">
                  <a16:creationId xmlns:a16="http://schemas.microsoft.com/office/drawing/2014/main" id="{F3C6EDC1-76C0-F0A6-8975-54D01F0B1C51}"/>
                </a:ext>
              </a:extLst>
            </p:cNvPr>
            <p:cNvSpPr>
              <a:spLocks/>
            </p:cNvSpPr>
            <p:nvPr/>
          </p:nvSpPr>
          <p:spPr>
            <a:xfrm>
              <a:off x="3383210" y="4625421"/>
              <a:ext cx="870039" cy="1234323"/>
            </a:xfrm>
            <a:custGeom>
              <a:avLst/>
              <a:gdLst>
                <a:gd name="connsiteX0" fmla="*/ 510436 w 538865"/>
                <a:gd name="connsiteY0" fmla="*/ 0 h 764574"/>
                <a:gd name="connsiteX1" fmla="*/ 86707 w 538865"/>
                <a:gd name="connsiteY1" fmla="*/ 137707 h 764574"/>
                <a:gd name="connsiteX2" fmla="*/ 94015 w 538865"/>
                <a:gd name="connsiteY2" fmla="*/ 200024 h 764574"/>
                <a:gd name="connsiteX3" fmla="*/ 0 w 538865"/>
                <a:gd name="connsiteY3" fmla="*/ 404149 h 764574"/>
                <a:gd name="connsiteX4" fmla="*/ 261879 w 538865"/>
                <a:gd name="connsiteY4" fmla="*/ 764575 h 764574"/>
                <a:gd name="connsiteX5" fmla="*/ 538865 w 538865"/>
                <a:gd name="connsiteY5" fmla="*/ 200024 h 764574"/>
                <a:gd name="connsiteX6" fmla="*/ 510467 w 538865"/>
                <a:gd name="connsiteY6" fmla="*/ 0 h 764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8865" h="764574">
                  <a:moveTo>
                    <a:pt x="510436" y="0"/>
                  </a:moveTo>
                  <a:lnTo>
                    <a:pt x="86707" y="137707"/>
                  </a:lnTo>
                  <a:cubicBezTo>
                    <a:pt x="91548" y="158027"/>
                    <a:pt x="94015" y="178964"/>
                    <a:pt x="94015" y="200024"/>
                  </a:cubicBezTo>
                  <a:cubicBezTo>
                    <a:pt x="94015" y="279115"/>
                    <a:pt x="59912" y="352840"/>
                    <a:pt x="0" y="404149"/>
                  </a:cubicBezTo>
                  <a:lnTo>
                    <a:pt x="261879" y="764575"/>
                  </a:lnTo>
                  <a:cubicBezTo>
                    <a:pt x="438098" y="628224"/>
                    <a:pt x="538865" y="423174"/>
                    <a:pt x="538865" y="200024"/>
                  </a:cubicBezTo>
                  <a:cubicBezTo>
                    <a:pt x="538865" y="131972"/>
                    <a:pt x="529307" y="64753"/>
                    <a:pt x="510467" y="0"/>
                  </a:cubicBezTo>
                  <a:close/>
                </a:path>
              </a:pathLst>
            </a:custGeom>
            <a:solidFill>
              <a:schemeClr val="bg2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Textfeld 5">
              <a:extLst>
                <a:ext uri="{FF2B5EF4-FFF2-40B4-BE49-F238E27FC236}">
                  <a16:creationId xmlns:a16="http://schemas.microsoft.com/office/drawing/2014/main" id="{EAAA0CD3-1DFE-A0DE-7EB1-4C20AED5884E}"/>
                </a:ext>
              </a:extLst>
            </p:cNvPr>
            <p:cNvSpPr txBox="1">
              <a:spLocks/>
            </p:cNvSpPr>
            <p:nvPr/>
          </p:nvSpPr>
          <p:spPr>
            <a:xfrm rot="19531624">
              <a:off x="2165872" y="4013426"/>
              <a:ext cx="1869718" cy="18703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Up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35" name="Textfeld 1">
              <a:extLst>
                <a:ext uri="{FF2B5EF4-FFF2-40B4-BE49-F238E27FC236}">
                  <a16:creationId xmlns:a16="http://schemas.microsoft.com/office/drawing/2014/main" id="{9DC4F890-5DC8-12E5-E60B-70808B76CBFE}"/>
                </a:ext>
              </a:extLst>
            </p:cNvPr>
            <p:cNvSpPr txBox="1">
              <a:spLocks/>
            </p:cNvSpPr>
            <p:nvPr/>
          </p:nvSpPr>
          <p:spPr>
            <a:xfrm rot="2202261">
              <a:off x="2165872" y="4013425"/>
              <a:ext cx="1869718" cy="18703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Up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36" name="Textfeld 2">
              <a:extLst>
                <a:ext uri="{FF2B5EF4-FFF2-40B4-BE49-F238E27FC236}">
                  <a16:creationId xmlns:a16="http://schemas.microsoft.com/office/drawing/2014/main" id="{A0C0474E-C4FC-DD6A-7168-B48D8FE6F735}"/>
                </a:ext>
              </a:extLst>
            </p:cNvPr>
            <p:cNvSpPr txBox="1">
              <a:spLocks/>
            </p:cNvSpPr>
            <p:nvPr/>
          </p:nvSpPr>
          <p:spPr>
            <a:xfrm rot="17306213">
              <a:off x="2186080" y="4034924"/>
              <a:ext cx="1829303" cy="18273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37" name="Textfeld 4">
              <a:extLst>
                <a:ext uri="{FF2B5EF4-FFF2-40B4-BE49-F238E27FC236}">
                  <a16:creationId xmlns:a16="http://schemas.microsoft.com/office/drawing/2014/main" id="{FB252104-4DFA-1304-8FD6-826A05FE41A1}"/>
                </a:ext>
              </a:extLst>
            </p:cNvPr>
            <p:cNvSpPr txBox="1">
              <a:spLocks/>
            </p:cNvSpPr>
            <p:nvPr/>
          </p:nvSpPr>
          <p:spPr>
            <a:xfrm rot="4338563">
              <a:off x="2186080" y="4034924"/>
              <a:ext cx="1829303" cy="18273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38" name="Textfeld 3">
              <a:extLst>
                <a:ext uri="{FF2B5EF4-FFF2-40B4-BE49-F238E27FC236}">
                  <a16:creationId xmlns:a16="http://schemas.microsoft.com/office/drawing/2014/main" id="{56C0F2A5-C5A9-8700-4FBC-7C2746543D65}"/>
                </a:ext>
              </a:extLst>
            </p:cNvPr>
            <p:cNvSpPr txBox="1">
              <a:spLocks/>
            </p:cNvSpPr>
            <p:nvPr/>
          </p:nvSpPr>
          <p:spPr>
            <a:xfrm>
              <a:off x="2186722" y="4034282"/>
              <a:ext cx="1828020" cy="182866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66" name="05">
              <a:extLst>
                <a:ext uri="{FF2B5EF4-FFF2-40B4-BE49-F238E27FC236}">
                  <a16:creationId xmlns:a16="http://schemas.microsoft.com/office/drawing/2014/main" id="{5B4B23FB-57E8-B5C7-4C46-FFA9039F82D9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2743593" y="4591601"/>
              <a:ext cx="714276" cy="714024"/>
            </a:xfrm>
            <a:prstGeom prst="ellipse">
              <a:avLst/>
            </a:prstGeom>
            <a:noFill/>
            <a:ln w="6350">
              <a:solidFill>
                <a:schemeClr val="accent5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lang="en-US">
                  <a:solidFill>
                    <a:schemeClr val="tx2"/>
                  </a:solidFill>
                  <a:sym typeface="Futura"/>
                </a:rPr>
                <a:t>05</a:t>
              </a:r>
              <a:endParaRPr lang="en-US" sz="1200" b="1">
                <a:solidFill>
                  <a:schemeClr val="tx2"/>
                </a:solidFill>
                <a:sym typeface="Futura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61FF00BE-8A1F-5D5C-731D-183AEB94C72E}"/>
              </a:ext>
            </a:extLst>
          </p:cNvPr>
          <p:cNvGrpSpPr>
            <a:grpSpLocks/>
          </p:cNvGrpSpPr>
          <p:nvPr/>
        </p:nvGrpSpPr>
        <p:grpSpPr>
          <a:xfrm>
            <a:off x="4970117" y="3767925"/>
            <a:ext cx="2305048" cy="2304226"/>
            <a:chOff x="4970117" y="3796500"/>
            <a:chExt cx="2305048" cy="2304226"/>
          </a:xfrm>
        </p:grpSpPr>
        <p:sp>
          <p:nvSpPr>
            <p:cNvPr id="20" name="Freihandform: Form 229">
              <a:extLst>
                <a:ext uri="{FF2B5EF4-FFF2-40B4-BE49-F238E27FC236}">
                  <a16:creationId xmlns:a16="http://schemas.microsoft.com/office/drawing/2014/main" id="{F92740B9-59A7-DE20-40BA-DE6E4473A747}"/>
                </a:ext>
              </a:extLst>
            </p:cNvPr>
            <p:cNvSpPr>
              <a:spLocks/>
            </p:cNvSpPr>
            <p:nvPr/>
          </p:nvSpPr>
          <p:spPr>
            <a:xfrm>
              <a:off x="4970117" y="4402642"/>
              <a:ext cx="760267" cy="1091892"/>
            </a:xfrm>
            <a:custGeom>
              <a:avLst/>
              <a:gdLst>
                <a:gd name="connsiteX0" fmla="*/ 470876 w 470875"/>
                <a:gd name="connsiteY0" fmla="*/ 222780 h 676202"/>
                <a:gd name="connsiteX1" fmla="*/ 85042 w 470875"/>
                <a:gd name="connsiteY1" fmla="*/ 0 h 676202"/>
                <a:gd name="connsiteX2" fmla="*/ 0 w 470875"/>
                <a:gd name="connsiteY2" fmla="*/ 338101 h 676202"/>
                <a:gd name="connsiteX3" fmla="*/ 85042 w 470875"/>
                <a:gd name="connsiteY3" fmla="*/ 676203 h 676202"/>
                <a:gd name="connsiteX4" fmla="*/ 470876 w 470875"/>
                <a:gd name="connsiteY4" fmla="*/ 453423 h 676202"/>
                <a:gd name="connsiteX5" fmla="*/ 444851 w 470875"/>
                <a:gd name="connsiteY5" fmla="*/ 338101 h 676202"/>
                <a:gd name="connsiteX6" fmla="*/ 470876 w 470875"/>
                <a:gd name="connsiteY6" fmla="*/ 222749 h 676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0875" h="676202">
                  <a:moveTo>
                    <a:pt x="470876" y="222780"/>
                  </a:moveTo>
                  <a:lnTo>
                    <a:pt x="85042" y="0"/>
                  </a:lnTo>
                  <a:cubicBezTo>
                    <a:pt x="29385" y="103358"/>
                    <a:pt x="0" y="219974"/>
                    <a:pt x="0" y="338101"/>
                  </a:cubicBezTo>
                  <a:cubicBezTo>
                    <a:pt x="0" y="456229"/>
                    <a:pt x="29355" y="572876"/>
                    <a:pt x="85042" y="676203"/>
                  </a:cubicBezTo>
                  <a:lnTo>
                    <a:pt x="470876" y="453423"/>
                  </a:lnTo>
                  <a:cubicBezTo>
                    <a:pt x="453824" y="417593"/>
                    <a:pt x="444851" y="377971"/>
                    <a:pt x="444851" y="338101"/>
                  </a:cubicBezTo>
                  <a:cubicBezTo>
                    <a:pt x="444851" y="298232"/>
                    <a:pt x="453824" y="258610"/>
                    <a:pt x="470876" y="222749"/>
                  </a:cubicBezTo>
                  <a:close/>
                </a:path>
              </a:pathLst>
            </a:custGeom>
            <a:solidFill>
              <a:schemeClr val="bg2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ihandform: Form 230">
              <a:extLst>
                <a:ext uri="{FF2B5EF4-FFF2-40B4-BE49-F238E27FC236}">
                  <a16:creationId xmlns:a16="http://schemas.microsoft.com/office/drawing/2014/main" id="{89F97CE4-B0AB-F312-F554-9ABA1FAE41BE}"/>
                </a:ext>
              </a:extLst>
            </p:cNvPr>
            <p:cNvSpPr>
              <a:spLocks/>
            </p:cNvSpPr>
            <p:nvPr/>
          </p:nvSpPr>
          <p:spPr>
            <a:xfrm>
              <a:off x="5142275" y="5195148"/>
              <a:ext cx="945517" cy="905578"/>
            </a:xfrm>
            <a:custGeom>
              <a:avLst/>
              <a:gdLst>
                <a:gd name="connsiteX0" fmla="*/ 385895 w 585610"/>
                <a:gd name="connsiteY0" fmla="*/ 0 h 560819"/>
                <a:gd name="connsiteX1" fmla="*/ 0 w 585610"/>
                <a:gd name="connsiteY1" fmla="*/ 222811 h 560819"/>
                <a:gd name="connsiteX2" fmla="*/ 585610 w 585610"/>
                <a:gd name="connsiteY2" fmla="*/ 560820 h 560819"/>
                <a:gd name="connsiteX3" fmla="*/ 585610 w 585610"/>
                <a:gd name="connsiteY3" fmla="*/ 115414 h 560819"/>
                <a:gd name="connsiteX4" fmla="*/ 385895 w 585610"/>
                <a:gd name="connsiteY4" fmla="*/ 0 h 560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610" h="560819">
                  <a:moveTo>
                    <a:pt x="385895" y="0"/>
                  </a:moveTo>
                  <a:lnTo>
                    <a:pt x="0" y="222811"/>
                  </a:lnTo>
                  <a:cubicBezTo>
                    <a:pt x="127162" y="428262"/>
                    <a:pt x="344484" y="553697"/>
                    <a:pt x="585610" y="560820"/>
                  </a:cubicBezTo>
                  <a:lnTo>
                    <a:pt x="585610" y="115414"/>
                  </a:lnTo>
                  <a:cubicBezTo>
                    <a:pt x="505194" y="109000"/>
                    <a:pt x="431962" y="66695"/>
                    <a:pt x="385895" y="0"/>
                  </a:cubicBezTo>
                  <a:close/>
                </a:path>
              </a:pathLst>
            </a:custGeom>
            <a:solidFill>
              <a:schemeClr val="bg2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ihandform: Form 231">
              <a:extLst>
                <a:ext uri="{FF2B5EF4-FFF2-40B4-BE49-F238E27FC236}">
                  <a16:creationId xmlns:a16="http://schemas.microsoft.com/office/drawing/2014/main" id="{CBD9E122-99E8-DF7E-73AF-E232927663B9}"/>
                </a:ext>
              </a:extLst>
            </p:cNvPr>
            <p:cNvSpPr>
              <a:spLocks/>
            </p:cNvSpPr>
            <p:nvPr/>
          </p:nvSpPr>
          <p:spPr>
            <a:xfrm>
              <a:off x="6157490" y="5195148"/>
              <a:ext cx="945518" cy="905578"/>
            </a:xfrm>
            <a:custGeom>
              <a:avLst/>
              <a:gdLst>
                <a:gd name="connsiteX0" fmla="*/ 199716 w 585611"/>
                <a:gd name="connsiteY0" fmla="*/ 0 h 560819"/>
                <a:gd name="connsiteX1" fmla="*/ 0 w 585611"/>
                <a:gd name="connsiteY1" fmla="*/ 115414 h 560819"/>
                <a:gd name="connsiteX2" fmla="*/ 0 w 585611"/>
                <a:gd name="connsiteY2" fmla="*/ 560820 h 560819"/>
                <a:gd name="connsiteX3" fmla="*/ 585611 w 585611"/>
                <a:gd name="connsiteY3" fmla="*/ 222811 h 560819"/>
                <a:gd name="connsiteX4" fmla="*/ 199747 w 585611"/>
                <a:gd name="connsiteY4" fmla="*/ 0 h 560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611" h="560819">
                  <a:moveTo>
                    <a:pt x="199716" y="0"/>
                  </a:moveTo>
                  <a:cubicBezTo>
                    <a:pt x="153649" y="66634"/>
                    <a:pt x="80386" y="108969"/>
                    <a:pt x="0" y="115414"/>
                  </a:cubicBezTo>
                  <a:lnTo>
                    <a:pt x="0" y="560820"/>
                  </a:lnTo>
                  <a:cubicBezTo>
                    <a:pt x="241096" y="553697"/>
                    <a:pt x="458418" y="428262"/>
                    <a:pt x="585611" y="222811"/>
                  </a:cubicBezTo>
                  <a:lnTo>
                    <a:pt x="199747" y="0"/>
                  </a:lnTo>
                  <a:close/>
                </a:path>
              </a:pathLst>
            </a:custGeom>
            <a:solidFill>
              <a:schemeClr val="bg2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ihandform: Form 232">
              <a:extLst>
                <a:ext uri="{FF2B5EF4-FFF2-40B4-BE49-F238E27FC236}">
                  <a16:creationId xmlns:a16="http://schemas.microsoft.com/office/drawing/2014/main" id="{3DC030E1-892F-B474-FDAC-F5C573CACCAF}"/>
                </a:ext>
              </a:extLst>
            </p:cNvPr>
            <p:cNvSpPr>
              <a:spLocks/>
            </p:cNvSpPr>
            <p:nvPr/>
          </p:nvSpPr>
          <p:spPr>
            <a:xfrm>
              <a:off x="6514898" y="4402692"/>
              <a:ext cx="760267" cy="1091892"/>
            </a:xfrm>
            <a:custGeom>
              <a:avLst/>
              <a:gdLst>
                <a:gd name="connsiteX0" fmla="*/ 0 w 470875"/>
                <a:gd name="connsiteY0" fmla="*/ 222749 h 676202"/>
                <a:gd name="connsiteX1" fmla="*/ 26025 w 470875"/>
                <a:gd name="connsiteY1" fmla="*/ 338101 h 676202"/>
                <a:gd name="connsiteX2" fmla="*/ 0 w 470875"/>
                <a:gd name="connsiteY2" fmla="*/ 453423 h 676202"/>
                <a:gd name="connsiteX3" fmla="*/ 385834 w 470875"/>
                <a:gd name="connsiteY3" fmla="*/ 676203 h 676202"/>
                <a:gd name="connsiteX4" fmla="*/ 470875 w 470875"/>
                <a:gd name="connsiteY4" fmla="*/ 338101 h 676202"/>
                <a:gd name="connsiteX5" fmla="*/ 385834 w 470875"/>
                <a:gd name="connsiteY5" fmla="*/ 0 h 676202"/>
                <a:gd name="connsiteX6" fmla="*/ 0 w 470875"/>
                <a:gd name="connsiteY6" fmla="*/ 222780 h 676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0875" h="676202">
                  <a:moveTo>
                    <a:pt x="0" y="222749"/>
                  </a:moveTo>
                  <a:cubicBezTo>
                    <a:pt x="17052" y="258579"/>
                    <a:pt x="26025" y="298201"/>
                    <a:pt x="26025" y="338101"/>
                  </a:cubicBezTo>
                  <a:cubicBezTo>
                    <a:pt x="26025" y="378001"/>
                    <a:pt x="17052" y="417593"/>
                    <a:pt x="0" y="453423"/>
                  </a:cubicBezTo>
                  <a:lnTo>
                    <a:pt x="385834" y="676203"/>
                  </a:lnTo>
                  <a:cubicBezTo>
                    <a:pt x="441490" y="572845"/>
                    <a:pt x="470875" y="456229"/>
                    <a:pt x="470875" y="338101"/>
                  </a:cubicBezTo>
                  <a:cubicBezTo>
                    <a:pt x="470875" y="219974"/>
                    <a:pt x="441521" y="103327"/>
                    <a:pt x="385834" y="0"/>
                  </a:cubicBezTo>
                  <a:lnTo>
                    <a:pt x="0" y="222780"/>
                  </a:lnTo>
                  <a:close/>
                </a:path>
              </a:pathLst>
            </a:custGeom>
            <a:solidFill>
              <a:schemeClr val="bg2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ihandform: Form 233">
              <a:extLst>
                <a:ext uri="{FF2B5EF4-FFF2-40B4-BE49-F238E27FC236}">
                  <a16:creationId xmlns:a16="http://schemas.microsoft.com/office/drawing/2014/main" id="{39E10A28-7CCD-555E-2E5E-B032F538C61C}"/>
                </a:ext>
              </a:extLst>
            </p:cNvPr>
            <p:cNvSpPr>
              <a:spLocks/>
            </p:cNvSpPr>
            <p:nvPr/>
          </p:nvSpPr>
          <p:spPr>
            <a:xfrm>
              <a:off x="6157442" y="3796500"/>
              <a:ext cx="945517" cy="905578"/>
            </a:xfrm>
            <a:custGeom>
              <a:avLst/>
              <a:gdLst>
                <a:gd name="connsiteX0" fmla="*/ 199715 w 585610"/>
                <a:gd name="connsiteY0" fmla="*/ 560820 h 560819"/>
                <a:gd name="connsiteX1" fmla="*/ 585610 w 585610"/>
                <a:gd name="connsiteY1" fmla="*/ 338009 h 560819"/>
                <a:gd name="connsiteX2" fmla="*/ 0 w 585610"/>
                <a:gd name="connsiteY2" fmla="*/ 0 h 560819"/>
                <a:gd name="connsiteX3" fmla="*/ 0 w 585610"/>
                <a:gd name="connsiteY3" fmla="*/ 445406 h 560819"/>
                <a:gd name="connsiteX4" fmla="*/ 199684 w 585610"/>
                <a:gd name="connsiteY4" fmla="*/ 560820 h 560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610" h="560819">
                  <a:moveTo>
                    <a:pt x="199715" y="560820"/>
                  </a:moveTo>
                  <a:lnTo>
                    <a:pt x="585610" y="338009"/>
                  </a:lnTo>
                  <a:cubicBezTo>
                    <a:pt x="458418" y="132558"/>
                    <a:pt x="241096" y="7123"/>
                    <a:pt x="0" y="0"/>
                  </a:cubicBezTo>
                  <a:lnTo>
                    <a:pt x="0" y="445406"/>
                  </a:lnTo>
                  <a:cubicBezTo>
                    <a:pt x="80416" y="451850"/>
                    <a:pt x="153648" y="494155"/>
                    <a:pt x="199684" y="560820"/>
                  </a:cubicBezTo>
                  <a:close/>
                </a:path>
              </a:pathLst>
            </a:custGeom>
            <a:solidFill>
              <a:schemeClr val="bg2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ihandform: Form 234">
              <a:extLst>
                <a:ext uri="{FF2B5EF4-FFF2-40B4-BE49-F238E27FC236}">
                  <a16:creationId xmlns:a16="http://schemas.microsoft.com/office/drawing/2014/main" id="{B2355592-F3B2-76D7-2462-50F78DAAA7A2}"/>
                </a:ext>
              </a:extLst>
            </p:cNvPr>
            <p:cNvSpPr>
              <a:spLocks/>
            </p:cNvSpPr>
            <p:nvPr/>
          </p:nvSpPr>
          <p:spPr>
            <a:xfrm>
              <a:off x="5142275" y="3796500"/>
              <a:ext cx="945517" cy="905578"/>
            </a:xfrm>
            <a:custGeom>
              <a:avLst/>
              <a:gdLst>
                <a:gd name="connsiteX0" fmla="*/ 385895 w 585610"/>
                <a:gd name="connsiteY0" fmla="*/ 560820 h 560819"/>
                <a:gd name="connsiteX1" fmla="*/ 585610 w 585610"/>
                <a:gd name="connsiteY1" fmla="*/ 445406 h 560819"/>
                <a:gd name="connsiteX2" fmla="*/ 585610 w 585610"/>
                <a:gd name="connsiteY2" fmla="*/ 0 h 560819"/>
                <a:gd name="connsiteX3" fmla="*/ 0 w 585610"/>
                <a:gd name="connsiteY3" fmla="*/ 338009 h 560819"/>
                <a:gd name="connsiteX4" fmla="*/ 385865 w 585610"/>
                <a:gd name="connsiteY4" fmla="*/ 560820 h 560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610" h="560819">
                  <a:moveTo>
                    <a:pt x="385895" y="560820"/>
                  </a:moveTo>
                  <a:cubicBezTo>
                    <a:pt x="431962" y="494155"/>
                    <a:pt x="505225" y="451819"/>
                    <a:pt x="585610" y="445406"/>
                  </a:cubicBezTo>
                  <a:lnTo>
                    <a:pt x="585610" y="0"/>
                  </a:lnTo>
                  <a:cubicBezTo>
                    <a:pt x="344484" y="7123"/>
                    <a:pt x="127162" y="132558"/>
                    <a:pt x="0" y="338009"/>
                  </a:cubicBezTo>
                  <a:lnTo>
                    <a:pt x="385865" y="560820"/>
                  </a:lnTo>
                  <a:close/>
                </a:path>
              </a:pathLst>
            </a:custGeom>
            <a:solidFill>
              <a:schemeClr val="accent1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Textfeld 4">
              <a:extLst>
                <a:ext uri="{FF2B5EF4-FFF2-40B4-BE49-F238E27FC236}">
                  <a16:creationId xmlns:a16="http://schemas.microsoft.com/office/drawing/2014/main" id="{77DA9D75-6E31-C843-C802-12B5F7C7F2B8}"/>
                </a:ext>
              </a:extLst>
            </p:cNvPr>
            <p:cNvSpPr txBox="1">
              <a:spLocks noChangeAspect="1"/>
            </p:cNvSpPr>
            <p:nvPr/>
          </p:nvSpPr>
          <p:spPr>
            <a:xfrm rot="1800000">
              <a:off x="5199491" y="4025463"/>
              <a:ext cx="1846300" cy="184630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51" name="Textfeld 3">
              <a:extLst>
                <a:ext uri="{FF2B5EF4-FFF2-40B4-BE49-F238E27FC236}">
                  <a16:creationId xmlns:a16="http://schemas.microsoft.com/office/drawing/2014/main" id="{58201F74-C13E-0A61-C19D-6198E654225E}"/>
                </a:ext>
              </a:extLst>
            </p:cNvPr>
            <p:cNvSpPr txBox="1">
              <a:spLocks noChangeAspect="1"/>
            </p:cNvSpPr>
            <p:nvPr/>
          </p:nvSpPr>
          <p:spPr>
            <a:xfrm rot="19800000">
              <a:off x="5199491" y="4025463"/>
              <a:ext cx="1846300" cy="184630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52" name="Textfeld 5">
              <a:extLst>
                <a:ext uri="{FF2B5EF4-FFF2-40B4-BE49-F238E27FC236}">
                  <a16:creationId xmlns:a16="http://schemas.microsoft.com/office/drawing/2014/main" id="{E5104558-14C5-4B61-9EAF-6AD02D264C77}"/>
                </a:ext>
              </a:extLst>
            </p:cNvPr>
            <p:cNvSpPr txBox="1">
              <a:spLocks noChangeAspect="1"/>
            </p:cNvSpPr>
            <p:nvPr/>
          </p:nvSpPr>
          <p:spPr>
            <a:xfrm rot="5400000">
              <a:off x="5199167" y="4025787"/>
              <a:ext cx="1846949" cy="1845653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53" name="Textfeld 2">
              <a:extLst>
                <a:ext uri="{FF2B5EF4-FFF2-40B4-BE49-F238E27FC236}">
                  <a16:creationId xmlns:a16="http://schemas.microsoft.com/office/drawing/2014/main" id="{323417D5-FC0B-FCD7-4DFF-C55B9BD4B691}"/>
                </a:ext>
              </a:extLst>
            </p:cNvPr>
            <p:cNvSpPr txBox="1">
              <a:spLocks noChangeAspect="1"/>
            </p:cNvSpPr>
            <p:nvPr/>
          </p:nvSpPr>
          <p:spPr>
            <a:xfrm rot="16200000">
              <a:off x="5199167" y="4025787"/>
              <a:ext cx="1846949" cy="1845653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54" name="Textfeld 6">
              <a:extLst>
                <a:ext uri="{FF2B5EF4-FFF2-40B4-BE49-F238E27FC236}">
                  <a16:creationId xmlns:a16="http://schemas.microsoft.com/office/drawing/2014/main" id="{CCB20DA8-3C7B-D88C-E40A-EA90B8C07757}"/>
                </a:ext>
              </a:extLst>
            </p:cNvPr>
            <p:cNvSpPr txBox="1">
              <a:spLocks noChangeAspect="1"/>
            </p:cNvSpPr>
            <p:nvPr/>
          </p:nvSpPr>
          <p:spPr>
            <a:xfrm rot="19800000">
              <a:off x="5199491" y="4025463"/>
              <a:ext cx="1846300" cy="184630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Up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55" name="Textfeld 1">
              <a:extLst>
                <a:ext uri="{FF2B5EF4-FFF2-40B4-BE49-F238E27FC236}">
                  <a16:creationId xmlns:a16="http://schemas.microsoft.com/office/drawing/2014/main" id="{49370886-90EE-8089-FAC4-9F9D1F524EEC}"/>
                </a:ext>
              </a:extLst>
            </p:cNvPr>
            <p:cNvSpPr txBox="1">
              <a:spLocks noChangeAspect="1"/>
            </p:cNvSpPr>
            <p:nvPr/>
          </p:nvSpPr>
          <p:spPr>
            <a:xfrm rot="1800000">
              <a:off x="5199491" y="4025463"/>
              <a:ext cx="1846300" cy="184630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Up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67" name="06">
              <a:extLst>
                <a:ext uri="{FF2B5EF4-FFF2-40B4-BE49-F238E27FC236}">
                  <a16:creationId xmlns:a16="http://schemas.microsoft.com/office/drawing/2014/main" id="{AE3E64FB-9868-85DA-3071-1DD64B16D011}"/>
                </a:ext>
              </a:extLst>
            </p:cNvPr>
            <p:cNvSpPr txBox="1"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5761932" y="4588032"/>
              <a:ext cx="721418" cy="721164"/>
            </a:xfrm>
            <a:prstGeom prst="ellipse">
              <a:avLst/>
            </a:prstGeom>
            <a:noFill/>
            <a:ln w="6350">
              <a:solidFill>
                <a:schemeClr val="accent5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lang="en-US">
                  <a:solidFill>
                    <a:schemeClr val="tx2"/>
                  </a:solidFill>
                  <a:sym typeface="Futura"/>
                </a:rPr>
                <a:t>06</a:t>
              </a:r>
              <a:endParaRPr lang="en-US" sz="1200" b="1">
                <a:solidFill>
                  <a:schemeClr val="accent1"/>
                </a:solidFill>
                <a:sym typeface="Futura"/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02864858-4730-B5F1-7D22-B2C76624FE97}"/>
              </a:ext>
            </a:extLst>
          </p:cNvPr>
          <p:cNvGrpSpPr>
            <a:grpSpLocks/>
          </p:cNvGrpSpPr>
          <p:nvPr/>
        </p:nvGrpSpPr>
        <p:grpSpPr>
          <a:xfrm>
            <a:off x="7992033" y="3767925"/>
            <a:ext cx="2305034" cy="2304226"/>
            <a:chOff x="7992033" y="3796500"/>
            <a:chExt cx="2305034" cy="2304226"/>
          </a:xfrm>
        </p:grpSpPr>
        <p:sp>
          <p:nvSpPr>
            <p:cNvPr id="26" name="Freihandform: Form 236">
              <a:extLst>
                <a:ext uri="{FF2B5EF4-FFF2-40B4-BE49-F238E27FC236}">
                  <a16:creationId xmlns:a16="http://schemas.microsoft.com/office/drawing/2014/main" id="{6DA32C56-43C6-DBF2-3563-D0968898EE6B}"/>
                </a:ext>
              </a:extLst>
            </p:cNvPr>
            <p:cNvSpPr>
              <a:spLocks/>
            </p:cNvSpPr>
            <p:nvPr/>
          </p:nvSpPr>
          <p:spPr>
            <a:xfrm>
              <a:off x="9179400" y="3796500"/>
              <a:ext cx="838461" cy="852454"/>
            </a:xfrm>
            <a:custGeom>
              <a:avLst/>
              <a:gdLst>
                <a:gd name="connsiteX0" fmla="*/ 173074 w 519285"/>
                <a:gd name="connsiteY0" fmla="*/ 528012 h 528011"/>
                <a:gd name="connsiteX1" fmla="*/ 519285 w 519285"/>
                <a:gd name="connsiteY1" fmla="*/ 247633 h 528011"/>
                <a:gd name="connsiteX2" fmla="*/ 0 w 519285"/>
                <a:gd name="connsiteY2" fmla="*/ 0 h 528011"/>
                <a:gd name="connsiteX3" fmla="*/ 0 w 519285"/>
                <a:gd name="connsiteY3" fmla="*/ 445344 h 528011"/>
                <a:gd name="connsiteX4" fmla="*/ 173074 w 519285"/>
                <a:gd name="connsiteY4" fmla="*/ 528012 h 528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285" h="528011">
                  <a:moveTo>
                    <a:pt x="173074" y="528012"/>
                  </a:moveTo>
                  <a:lnTo>
                    <a:pt x="519285" y="247633"/>
                  </a:lnTo>
                  <a:cubicBezTo>
                    <a:pt x="388300" y="95618"/>
                    <a:pt x="200332" y="5982"/>
                    <a:pt x="0" y="0"/>
                  </a:cubicBezTo>
                  <a:lnTo>
                    <a:pt x="0" y="445344"/>
                  </a:lnTo>
                  <a:cubicBezTo>
                    <a:pt x="65524" y="450617"/>
                    <a:pt x="127501" y="480218"/>
                    <a:pt x="173074" y="528012"/>
                  </a:cubicBezTo>
                  <a:close/>
                </a:path>
              </a:pathLst>
            </a:custGeom>
            <a:solidFill>
              <a:schemeClr val="bg2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ihandform: Form 237">
              <a:extLst>
                <a:ext uri="{FF2B5EF4-FFF2-40B4-BE49-F238E27FC236}">
                  <a16:creationId xmlns:a16="http://schemas.microsoft.com/office/drawing/2014/main" id="{4D3599B9-7841-5822-46A3-2AB3DED63775}"/>
                </a:ext>
              </a:extLst>
            </p:cNvPr>
            <p:cNvSpPr>
              <a:spLocks/>
            </p:cNvSpPr>
            <p:nvPr/>
          </p:nvSpPr>
          <p:spPr>
            <a:xfrm>
              <a:off x="7992033" y="4258520"/>
              <a:ext cx="792157" cy="914978"/>
            </a:xfrm>
            <a:custGeom>
              <a:avLst/>
              <a:gdLst>
                <a:gd name="connsiteX0" fmla="*/ 13629 w 490608"/>
                <a:gd name="connsiteY0" fmla="*/ 566740 h 566739"/>
                <a:gd name="connsiteX1" fmla="*/ 447718 w 490608"/>
                <a:gd name="connsiteY1" fmla="*/ 466558 h 566739"/>
                <a:gd name="connsiteX2" fmla="*/ 444850 w 490608"/>
                <a:gd name="connsiteY2" fmla="*/ 427275 h 566739"/>
                <a:gd name="connsiteX3" fmla="*/ 490609 w 490608"/>
                <a:gd name="connsiteY3" fmla="*/ 277326 h 566739"/>
                <a:gd name="connsiteX4" fmla="*/ 141962 w 490608"/>
                <a:gd name="connsiteY4" fmla="*/ 0 h 566739"/>
                <a:gd name="connsiteX5" fmla="*/ 0 w 490608"/>
                <a:gd name="connsiteY5" fmla="*/ 427275 h 566739"/>
                <a:gd name="connsiteX6" fmla="*/ 13660 w 490608"/>
                <a:gd name="connsiteY6" fmla="*/ 566740 h 566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0608" h="566739">
                  <a:moveTo>
                    <a:pt x="13629" y="566740"/>
                  </a:moveTo>
                  <a:lnTo>
                    <a:pt x="447718" y="466558"/>
                  </a:lnTo>
                  <a:cubicBezTo>
                    <a:pt x="445806" y="453577"/>
                    <a:pt x="444850" y="440411"/>
                    <a:pt x="444850" y="427275"/>
                  </a:cubicBezTo>
                  <a:cubicBezTo>
                    <a:pt x="444850" y="373345"/>
                    <a:pt x="460638" y="321759"/>
                    <a:pt x="490609" y="277326"/>
                  </a:cubicBezTo>
                  <a:lnTo>
                    <a:pt x="141962" y="0"/>
                  </a:lnTo>
                  <a:cubicBezTo>
                    <a:pt x="49027" y="124078"/>
                    <a:pt x="0" y="271529"/>
                    <a:pt x="0" y="427275"/>
                  </a:cubicBezTo>
                  <a:cubicBezTo>
                    <a:pt x="0" y="474113"/>
                    <a:pt x="4594" y="520981"/>
                    <a:pt x="13660" y="566740"/>
                  </a:cubicBezTo>
                  <a:close/>
                </a:path>
              </a:pathLst>
            </a:custGeom>
            <a:solidFill>
              <a:schemeClr val="bg2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ihandform: Form 238">
              <a:extLst>
                <a:ext uri="{FF2B5EF4-FFF2-40B4-BE49-F238E27FC236}">
                  <a16:creationId xmlns:a16="http://schemas.microsoft.com/office/drawing/2014/main" id="{ED488946-8BD8-1B84-EFDB-1F69F4049536}"/>
                </a:ext>
              </a:extLst>
            </p:cNvPr>
            <p:cNvSpPr>
              <a:spLocks/>
            </p:cNvSpPr>
            <p:nvPr/>
          </p:nvSpPr>
          <p:spPr>
            <a:xfrm>
              <a:off x="9502717" y="4250406"/>
              <a:ext cx="794350" cy="913236"/>
            </a:xfrm>
            <a:custGeom>
              <a:avLst/>
              <a:gdLst>
                <a:gd name="connsiteX0" fmla="*/ 346242 w 491966"/>
                <a:gd name="connsiteY0" fmla="*/ 0 h 565660"/>
                <a:gd name="connsiteX1" fmla="*/ 0 w 491966"/>
                <a:gd name="connsiteY1" fmla="*/ 280379 h 565660"/>
                <a:gd name="connsiteX2" fmla="*/ 47115 w 491966"/>
                <a:gd name="connsiteY2" fmla="*/ 432270 h 565660"/>
                <a:gd name="connsiteX3" fmla="*/ 44587 w 491966"/>
                <a:gd name="connsiteY3" fmla="*/ 469241 h 565660"/>
                <a:gd name="connsiteX4" fmla="*/ 479509 w 491966"/>
                <a:gd name="connsiteY4" fmla="*/ 565661 h 565660"/>
                <a:gd name="connsiteX5" fmla="*/ 491966 w 491966"/>
                <a:gd name="connsiteY5" fmla="*/ 432270 h 565660"/>
                <a:gd name="connsiteX6" fmla="*/ 346211 w 491966"/>
                <a:gd name="connsiteY6" fmla="*/ 0 h 565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1966" h="565660">
                  <a:moveTo>
                    <a:pt x="346242" y="0"/>
                  </a:moveTo>
                  <a:lnTo>
                    <a:pt x="0" y="280379"/>
                  </a:lnTo>
                  <a:cubicBezTo>
                    <a:pt x="30865" y="325213"/>
                    <a:pt x="47115" y="377477"/>
                    <a:pt x="47115" y="432270"/>
                  </a:cubicBezTo>
                  <a:cubicBezTo>
                    <a:pt x="47115" y="444635"/>
                    <a:pt x="46252" y="457030"/>
                    <a:pt x="44587" y="469241"/>
                  </a:cubicBezTo>
                  <a:lnTo>
                    <a:pt x="479509" y="565661"/>
                  </a:lnTo>
                  <a:cubicBezTo>
                    <a:pt x="487772" y="521814"/>
                    <a:pt x="491966" y="477011"/>
                    <a:pt x="491966" y="432270"/>
                  </a:cubicBezTo>
                  <a:cubicBezTo>
                    <a:pt x="491966" y="274243"/>
                    <a:pt x="441613" y="125065"/>
                    <a:pt x="346211" y="0"/>
                  </a:cubicBezTo>
                  <a:close/>
                </a:path>
              </a:pathLst>
            </a:custGeom>
            <a:solidFill>
              <a:schemeClr val="bg2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ihandform: Form 239">
              <a:extLst>
                <a:ext uri="{FF2B5EF4-FFF2-40B4-BE49-F238E27FC236}">
                  <a16:creationId xmlns:a16="http://schemas.microsoft.com/office/drawing/2014/main" id="{E8214DAE-2498-A266-A643-90AD892FF313}"/>
                </a:ext>
              </a:extLst>
            </p:cNvPr>
            <p:cNvSpPr>
              <a:spLocks/>
            </p:cNvSpPr>
            <p:nvPr/>
          </p:nvSpPr>
          <p:spPr>
            <a:xfrm>
              <a:off x="8264666" y="3796500"/>
              <a:ext cx="845032" cy="855242"/>
            </a:xfrm>
            <a:custGeom>
              <a:avLst/>
              <a:gdLst>
                <a:gd name="connsiteX0" fmla="*/ 348677 w 523355"/>
                <a:gd name="connsiteY0" fmla="*/ 529738 h 529738"/>
                <a:gd name="connsiteX1" fmla="*/ 523356 w 523355"/>
                <a:gd name="connsiteY1" fmla="*/ 445344 h 529738"/>
                <a:gd name="connsiteX2" fmla="*/ 523356 w 523355"/>
                <a:gd name="connsiteY2" fmla="*/ 0 h 529738"/>
                <a:gd name="connsiteX3" fmla="*/ 0 w 523355"/>
                <a:gd name="connsiteY3" fmla="*/ 252381 h 529738"/>
                <a:gd name="connsiteX4" fmla="*/ 348677 w 523355"/>
                <a:gd name="connsiteY4" fmla="*/ 529738 h 529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355" h="529738">
                  <a:moveTo>
                    <a:pt x="348677" y="529738"/>
                  </a:moveTo>
                  <a:cubicBezTo>
                    <a:pt x="394405" y="480927"/>
                    <a:pt x="456938" y="450709"/>
                    <a:pt x="523356" y="445344"/>
                  </a:cubicBezTo>
                  <a:lnTo>
                    <a:pt x="523356" y="0"/>
                  </a:lnTo>
                  <a:cubicBezTo>
                    <a:pt x="320680" y="6044"/>
                    <a:pt x="131201" y="97407"/>
                    <a:pt x="0" y="252381"/>
                  </a:cubicBezTo>
                  <a:lnTo>
                    <a:pt x="348677" y="529738"/>
                  </a:lnTo>
                  <a:close/>
                </a:path>
              </a:pathLst>
            </a:custGeom>
            <a:solidFill>
              <a:schemeClr val="accent1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ihandform: Form 240">
              <a:extLst>
                <a:ext uri="{FF2B5EF4-FFF2-40B4-BE49-F238E27FC236}">
                  <a16:creationId xmlns:a16="http://schemas.microsoft.com/office/drawing/2014/main" id="{30B32299-A664-487A-02E7-8314EE70C989}"/>
                </a:ext>
              </a:extLst>
            </p:cNvPr>
            <p:cNvSpPr>
              <a:spLocks/>
            </p:cNvSpPr>
            <p:nvPr/>
          </p:nvSpPr>
          <p:spPr>
            <a:xfrm>
              <a:off x="9365554" y="5076029"/>
              <a:ext cx="896413" cy="892528"/>
            </a:xfrm>
            <a:custGeom>
              <a:avLst/>
              <a:gdLst>
                <a:gd name="connsiteX0" fmla="*/ 120224 w 555177"/>
                <a:gd name="connsiteY0" fmla="*/ 0 h 552833"/>
                <a:gd name="connsiteX1" fmla="*/ 0 w 555177"/>
                <a:gd name="connsiteY1" fmla="*/ 152354 h 552833"/>
                <a:gd name="connsiteX2" fmla="*/ 195337 w 555177"/>
                <a:gd name="connsiteY2" fmla="*/ 552834 h 552833"/>
                <a:gd name="connsiteX3" fmla="*/ 555177 w 555177"/>
                <a:gd name="connsiteY3" fmla="*/ 96420 h 552833"/>
                <a:gd name="connsiteX4" fmla="*/ 120255 w 555177"/>
                <a:gd name="connsiteY4" fmla="*/ 0 h 552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177" h="552833">
                  <a:moveTo>
                    <a:pt x="120224" y="0"/>
                  </a:moveTo>
                  <a:cubicBezTo>
                    <a:pt x="100583" y="63643"/>
                    <a:pt x="57506" y="118189"/>
                    <a:pt x="0" y="152354"/>
                  </a:cubicBezTo>
                  <a:lnTo>
                    <a:pt x="195337" y="552834"/>
                  </a:lnTo>
                  <a:cubicBezTo>
                    <a:pt x="375288" y="458110"/>
                    <a:pt x="505564" y="292867"/>
                    <a:pt x="555177" y="96420"/>
                  </a:cubicBezTo>
                  <a:lnTo>
                    <a:pt x="120255" y="0"/>
                  </a:lnTo>
                  <a:close/>
                </a:path>
              </a:pathLst>
            </a:custGeom>
            <a:solidFill>
              <a:schemeClr val="bg2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ihandform: Form 248">
              <a:extLst>
                <a:ext uri="{FF2B5EF4-FFF2-40B4-BE49-F238E27FC236}">
                  <a16:creationId xmlns:a16="http://schemas.microsoft.com/office/drawing/2014/main" id="{BBD2113C-1D23-31F5-5EF2-A3B5241C06F9}"/>
                </a:ext>
              </a:extLst>
            </p:cNvPr>
            <p:cNvSpPr>
              <a:spLocks/>
            </p:cNvSpPr>
            <p:nvPr/>
          </p:nvSpPr>
          <p:spPr>
            <a:xfrm>
              <a:off x="8679889" y="5352613"/>
              <a:ext cx="938433" cy="748113"/>
            </a:xfrm>
            <a:custGeom>
              <a:avLst/>
              <a:gdLst>
                <a:gd name="connsiteX0" fmla="*/ 385895 w 581201"/>
                <a:gd name="connsiteY0" fmla="*/ 31 h 463382"/>
                <a:gd name="connsiteX1" fmla="*/ 287780 w 581201"/>
                <a:gd name="connsiteY1" fmla="*/ 18562 h 463382"/>
                <a:gd name="connsiteX2" fmla="*/ 191822 w 581201"/>
                <a:gd name="connsiteY2" fmla="*/ 863 h 463382"/>
                <a:gd name="connsiteX3" fmla="*/ 0 w 581201"/>
                <a:gd name="connsiteY3" fmla="*/ 402977 h 463382"/>
                <a:gd name="connsiteX4" fmla="*/ 287749 w 581201"/>
                <a:gd name="connsiteY4" fmla="*/ 463382 h 463382"/>
                <a:gd name="connsiteX5" fmla="*/ 581201 w 581201"/>
                <a:gd name="connsiteY5" fmla="*/ 400418 h 463382"/>
                <a:gd name="connsiteX6" fmla="*/ 385895 w 581201"/>
                <a:gd name="connsiteY6" fmla="*/ 0 h 463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1201" h="463382">
                  <a:moveTo>
                    <a:pt x="385895" y="31"/>
                  </a:moveTo>
                  <a:cubicBezTo>
                    <a:pt x="354660" y="12334"/>
                    <a:pt x="321728" y="18562"/>
                    <a:pt x="287780" y="18562"/>
                  </a:cubicBezTo>
                  <a:cubicBezTo>
                    <a:pt x="253831" y="18562"/>
                    <a:pt x="222410" y="12611"/>
                    <a:pt x="191822" y="863"/>
                  </a:cubicBezTo>
                  <a:lnTo>
                    <a:pt x="0" y="402977"/>
                  </a:lnTo>
                  <a:cubicBezTo>
                    <a:pt x="90808" y="443062"/>
                    <a:pt x="187536" y="463382"/>
                    <a:pt x="287749" y="463382"/>
                  </a:cubicBezTo>
                  <a:cubicBezTo>
                    <a:pt x="387961" y="463382"/>
                    <a:pt x="488728" y="442199"/>
                    <a:pt x="581201" y="400418"/>
                  </a:cubicBezTo>
                  <a:lnTo>
                    <a:pt x="385895" y="0"/>
                  </a:lnTo>
                  <a:close/>
                </a:path>
              </a:pathLst>
            </a:custGeom>
            <a:solidFill>
              <a:schemeClr val="bg2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ihandform: Form 249">
              <a:extLst>
                <a:ext uri="{FF2B5EF4-FFF2-40B4-BE49-F238E27FC236}">
                  <a16:creationId xmlns:a16="http://schemas.microsoft.com/office/drawing/2014/main" id="{A0576A71-8711-B777-719E-BA1D36ACC7C2}"/>
                </a:ext>
              </a:extLst>
            </p:cNvPr>
            <p:cNvSpPr>
              <a:spLocks/>
            </p:cNvSpPr>
            <p:nvPr/>
          </p:nvSpPr>
          <p:spPr>
            <a:xfrm>
              <a:off x="8029672" y="5079613"/>
              <a:ext cx="897111" cy="893524"/>
            </a:xfrm>
            <a:custGeom>
              <a:avLst/>
              <a:gdLst>
                <a:gd name="connsiteX0" fmla="*/ 434090 w 555609"/>
                <a:gd name="connsiteY0" fmla="*/ 0 h 553450"/>
                <a:gd name="connsiteX1" fmla="*/ 0 w 555609"/>
                <a:gd name="connsiteY1" fmla="*/ 100212 h 553450"/>
                <a:gd name="connsiteX2" fmla="*/ 363756 w 555609"/>
                <a:gd name="connsiteY2" fmla="*/ 553450 h 553450"/>
                <a:gd name="connsiteX3" fmla="*/ 555609 w 555609"/>
                <a:gd name="connsiteY3" fmla="*/ 151275 h 553450"/>
                <a:gd name="connsiteX4" fmla="*/ 434090 w 555609"/>
                <a:gd name="connsiteY4" fmla="*/ 0 h 553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09" h="553450">
                  <a:moveTo>
                    <a:pt x="434090" y="0"/>
                  </a:moveTo>
                  <a:lnTo>
                    <a:pt x="0" y="100212"/>
                  </a:lnTo>
                  <a:cubicBezTo>
                    <a:pt x="51340" y="296228"/>
                    <a:pt x="183035" y="460330"/>
                    <a:pt x="363756" y="553450"/>
                  </a:cubicBezTo>
                  <a:lnTo>
                    <a:pt x="555609" y="151275"/>
                  </a:lnTo>
                  <a:cubicBezTo>
                    <a:pt x="497825" y="117696"/>
                    <a:pt x="454286" y="63519"/>
                    <a:pt x="434090" y="0"/>
                  </a:cubicBezTo>
                  <a:close/>
                </a:path>
              </a:pathLst>
            </a:custGeom>
            <a:solidFill>
              <a:schemeClr val="bg2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Textfeld 7">
              <a:extLst>
                <a:ext uri="{FF2B5EF4-FFF2-40B4-BE49-F238E27FC236}">
                  <a16:creationId xmlns:a16="http://schemas.microsoft.com/office/drawing/2014/main" id="{A155C3AE-9809-3DD3-BB81-D40A06571606}"/>
                </a:ext>
              </a:extLst>
            </p:cNvPr>
            <p:cNvSpPr txBox="1">
              <a:spLocks/>
            </p:cNvSpPr>
            <p:nvPr/>
          </p:nvSpPr>
          <p:spPr>
            <a:xfrm rot="20035141">
              <a:off x="8193428" y="4020685"/>
              <a:ext cx="1902245" cy="19015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Up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57" name="Textfeld 1">
              <a:extLst>
                <a:ext uri="{FF2B5EF4-FFF2-40B4-BE49-F238E27FC236}">
                  <a16:creationId xmlns:a16="http://schemas.microsoft.com/office/drawing/2014/main" id="{80E863BB-29DE-492B-4FE1-31C4E536D5BD}"/>
                </a:ext>
              </a:extLst>
            </p:cNvPr>
            <p:cNvSpPr txBox="1">
              <a:spLocks/>
            </p:cNvSpPr>
            <p:nvPr/>
          </p:nvSpPr>
          <p:spPr>
            <a:xfrm rot="1519159">
              <a:off x="8193428" y="4020685"/>
              <a:ext cx="1902245" cy="19015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Up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58" name="Textfeld 6">
              <a:extLst>
                <a:ext uri="{FF2B5EF4-FFF2-40B4-BE49-F238E27FC236}">
                  <a16:creationId xmlns:a16="http://schemas.microsoft.com/office/drawing/2014/main" id="{719721A1-1F33-FB27-0073-844454182AED}"/>
                </a:ext>
              </a:extLst>
            </p:cNvPr>
            <p:cNvSpPr txBox="1">
              <a:spLocks/>
            </p:cNvSpPr>
            <p:nvPr/>
          </p:nvSpPr>
          <p:spPr>
            <a:xfrm rot="17014428">
              <a:off x="8193428" y="4020685"/>
              <a:ext cx="1902245" cy="19015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Up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59" name="Textfeld 2">
              <a:extLst>
                <a:ext uri="{FF2B5EF4-FFF2-40B4-BE49-F238E27FC236}">
                  <a16:creationId xmlns:a16="http://schemas.microsoft.com/office/drawing/2014/main" id="{946F2209-AEB6-43CB-B2F0-F74DCB94CE22}"/>
                </a:ext>
              </a:extLst>
            </p:cNvPr>
            <p:cNvSpPr txBox="1">
              <a:spLocks/>
            </p:cNvSpPr>
            <p:nvPr/>
          </p:nvSpPr>
          <p:spPr>
            <a:xfrm rot="4566256">
              <a:off x="8193428" y="4020684"/>
              <a:ext cx="1902245" cy="19015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Up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60" name="Textfeld 5">
              <a:extLst>
                <a:ext uri="{FF2B5EF4-FFF2-40B4-BE49-F238E27FC236}">
                  <a16:creationId xmlns:a16="http://schemas.microsoft.com/office/drawing/2014/main" id="{A02066B4-6BAB-1837-3247-17604CAC9AF3}"/>
                </a:ext>
              </a:extLst>
            </p:cNvPr>
            <p:cNvSpPr txBox="1">
              <a:spLocks/>
            </p:cNvSpPr>
            <p:nvPr/>
          </p:nvSpPr>
          <p:spPr>
            <a:xfrm rot="3155794">
              <a:off x="8237943" y="4065183"/>
              <a:ext cx="1813214" cy="18125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61" name="Textfeld 3">
              <a:extLst>
                <a:ext uri="{FF2B5EF4-FFF2-40B4-BE49-F238E27FC236}">
                  <a16:creationId xmlns:a16="http://schemas.microsoft.com/office/drawing/2014/main" id="{FFE67B3B-5B00-879A-8CBD-FF5677D4776E}"/>
                </a:ext>
              </a:extLst>
            </p:cNvPr>
            <p:cNvSpPr txBox="1">
              <a:spLocks/>
            </p:cNvSpPr>
            <p:nvPr/>
          </p:nvSpPr>
          <p:spPr>
            <a:xfrm rot="18355685">
              <a:off x="8237943" y="4065183"/>
              <a:ext cx="1813214" cy="18125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62" name="Textfeld 4">
              <a:extLst>
                <a:ext uri="{FF2B5EF4-FFF2-40B4-BE49-F238E27FC236}">
                  <a16:creationId xmlns:a16="http://schemas.microsoft.com/office/drawing/2014/main" id="{77CD4D7B-43AA-4F87-20A7-8E0D89DCE306}"/>
                </a:ext>
              </a:extLst>
            </p:cNvPr>
            <p:cNvSpPr txBox="1">
              <a:spLocks/>
            </p:cNvSpPr>
            <p:nvPr/>
          </p:nvSpPr>
          <p:spPr>
            <a:xfrm>
              <a:off x="8237943" y="4065185"/>
              <a:ext cx="1813214" cy="18125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68" name="07">
              <a:extLst>
                <a:ext uri="{FF2B5EF4-FFF2-40B4-BE49-F238E27FC236}">
                  <a16:creationId xmlns:a16="http://schemas.microsoft.com/office/drawing/2014/main" id="{A639EB49-DC1C-D937-3D3B-BC496F28CC16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8787413" y="4591601"/>
              <a:ext cx="714276" cy="714024"/>
            </a:xfrm>
            <a:prstGeom prst="ellipse">
              <a:avLst/>
            </a:prstGeom>
            <a:noFill/>
            <a:ln w="6350">
              <a:solidFill>
                <a:schemeClr val="accent5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lang="en-US">
                  <a:solidFill>
                    <a:schemeClr val="tx2"/>
                  </a:solidFill>
                  <a:sym typeface="Futura"/>
                </a:rPr>
                <a:t>07</a:t>
              </a:r>
              <a:endParaRPr lang="en-US" sz="1200" b="1">
                <a:solidFill>
                  <a:schemeClr val="accent1"/>
                </a:solidFill>
                <a:sym typeface="Futura"/>
              </a:endParaRP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37F3D0F4-016A-9564-857B-CDEE950F2D77}"/>
              </a:ext>
            </a:extLst>
          </p:cNvPr>
          <p:cNvGrpSpPr>
            <a:grpSpLocks/>
          </p:cNvGrpSpPr>
          <p:nvPr/>
        </p:nvGrpSpPr>
        <p:grpSpPr>
          <a:xfrm>
            <a:off x="3459164" y="1562951"/>
            <a:ext cx="2305038" cy="2304224"/>
            <a:chOff x="3459164" y="1248626"/>
            <a:chExt cx="2305038" cy="2304224"/>
          </a:xfrm>
        </p:grpSpPr>
        <p:sp>
          <p:nvSpPr>
            <p:cNvPr id="3" name="Freihandform: Form 15">
              <a:extLst>
                <a:ext uri="{FF2B5EF4-FFF2-40B4-BE49-F238E27FC236}">
                  <a16:creationId xmlns:a16="http://schemas.microsoft.com/office/drawing/2014/main" id="{303DA833-7585-352A-B6B7-BEEDE0F9C0CB}"/>
                </a:ext>
              </a:extLst>
            </p:cNvPr>
            <p:cNvSpPr>
              <a:spLocks/>
            </p:cNvSpPr>
            <p:nvPr/>
          </p:nvSpPr>
          <p:spPr>
            <a:xfrm>
              <a:off x="3459164" y="1248626"/>
              <a:ext cx="1117669" cy="2304224"/>
            </a:xfrm>
            <a:custGeom>
              <a:avLst/>
              <a:gdLst>
                <a:gd name="connsiteX0" fmla="*/ 444851 w 692236"/>
                <a:gd name="connsiteY0" fmla="*/ 713513 h 1426994"/>
                <a:gd name="connsiteX1" fmla="*/ 520550 w 692236"/>
                <a:gd name="connsiteY1" fmla="*/ 526655 h 1426994"/>
                <a:gd name="connsiteX2" fmla="*/ 692237 w 692236"/>
                <a:gd name="connsiteY2" fmla="*/ 445437 h 1426994"/>
                <a:gd name="connsiteX3" fmla="*/ 692237 w 692236"/>
                <a:gd name="connsiteY3" fmla="*/ 0 h 1426994"/>
                <a:gd name="connsiteX4" fmla="*/ 0 w 692236"/>
                <a:gd name="connsiteY4" fmla="*/ 713513 h 1426994"/>
                <a:gd name="connsiteX5" fmla="*/ 692237 w 692236"/>
                <a:gd name="connsiteY5" fmla="*/ 1426995 h 1426994"/>
                <a:gd name="connsiteX6" fmla="*/ 692237 w 692236"/>
                <a:gd name="connsiteY6" fmla="*/ 981589 h 1426994"/>
                <a:gd name="connsiteX7" fmla="*/ 520550 w 692236"/>
                <a:gd name="connsiteY7" fmla="*/ 900370 h 1426994"/>
                <a:gd name="connsiteX8" fmla="*/ 444851 w 692236"/>
                <a:gd name="connsiteY8" fmla="*/ 713513 h 1426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2236" h="1426994">
                  <a:moveTo>
                    <a:pt x="444851" y="713513"/>
                  </a:moveTo>
                  <a:cubicBezTo>
                    <a:pt x="444851" y="643487"/>
                    <a:pt x="471739" y="577100"/>
                    <a:pt x="520550" y="526655"/>
                  </a:cubicBezTo>
                  <a:cubicBezTo>
                    <a:pt x="566462" y="479170"/>
                    <a:pt x="627052" y="450617"/>
                    <a:pt x="692237" y="445437"/>
                  </a:cubicBezTo>
                  <a:lnTo>
                    <a:pt x="692237" y="0"/>
                  </a:lnTo>
                  <a:cubicBezTo>
                    <a:pt x="309394" y="11501"/>
                    <a:pt x="0" y="328974"/>
                    <a:pt x="0" y="713513"/>
                  </a:cubicBezTo>
                  <a:cubicBezTo>
                    <a:pt x="0" y="1098051"/>
                    <a:pt x="309394" y="1415524"/>
                    <a:pt x="692237" y="1426995"/>
                  </a:cubicBezTo>
                  <a:lnTo>
                    <a:pt x="692237" y="981589"/>
                  </a:lnTo>
                  <a:cubicBezTo>
                    <a:pt x="627052" y="976408"/>
                    <a:pt x="566462" y="947825"/>
                    <a:pt x="520550" y="900370"/>
                  </a:cubicBezTo>
                  <a:cubicBezTo>
                    <a:pt x="471739" y="849894"/>
                    <a:pt x="444851" y="783538"/>
                    <a:pt x="444851" y="713513"/>
                  </a:cubicBezTo>
                  <a:close/>
                </a:path>
              </a:pathLst>
            </a:custGeom>
            <a:solidFill>
              <a:schemeClr val="accent1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ihandform: Form 16">
              <a:extLst>
                <a:ext uri="{FF2B5EF4-FFF2-40B4-BE49-F238E27FC236}">
                  <a16:creationId xmlns:a16="http://schemas.microsoft.com/office/drawing/2014/main" id="{86BF731B-B2E2-4E1D-E96F-F1DCC89FB557}"/>
                </a:ext>
              </a:extLst>
            </p:cNvPr>
            <p:cNvSpPr>
              <a:spLocks/>
            </p:cNvSpPr>
            <p:nvPr/>
          </p:nvSpPr>
          <p:spPr>
            <a:xfrm>
              <a:off x="4646533" y="1248626"/>
              <a:ext cx="1117669" cy="2304174"/>
            </a:xfrm>
            <a:custGeom>
              <a:avLst/>
              <a:gdLst>
                <a:gd name="connsiteX0" fmla="*/ 0 w 692236"/>
                <a:gd name="connsiteY0" fmla="*/ 0 h 1426963"/>
                <a:gd name="connsiteX1" fmla="*/ 0 w 692236"/>
                <a:gd name="connsiteY1" fmla="*/ 445406 h 1426963"/>
                <a:gd name="connsiteX2" fmla="*/ 171687 w 692236"/>
                <a:gd name="connsiteY2" fmla="*/ 526624 h 1426963"/>
                <a:gd name="connsiteX3" fmla="*/ 247386 w 692236"/>
                <a:gd name="connsiteY3" fmla="*/ 713482 h 1426963"/>
                <a:gd name="connsiteX4" fmla="*/ 171687 w 692236"/>
                <a:gd name="connsiteY4" fmla="*/ 900339 h 1426963"/>
                <a:gd name="connsiteX5" fmla="*/ 0 w 692236"/>
                <a:gd name="connsiteY5" fmla="*/ 981558 h 1426963"/>
                <a:gd name="connsiteX6" fmla="*/ 0 w 692236"/>
                <a:gd name="connsiteY6" fmla="*/ 1426964 h 1426963"/>
                <a:gd name="connsiteX7" fmla="*/ 692237 w 692236"/>
                <a:gd name="connsiteY7" fmla="*/ 713482 h 1426963"/>
                <a:gd name="connsiteX8" fmla="*/ 0 w 692236"/>
                <a:gd name="connsiteY8" fmla="*/ 0 h 1426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2236" h="1426963">
                  <a:moveTo>
                    <a:pt x="0" y="0"/>
                  </a:moveTo>
                  <a:lnTo>
                    <a:pt x="0" y="445406"/>
                  </a:lnTo>
                  <a:cubicBezTo>
                    <a:pt x="65184" y="450586"/>
                    <a:pt x="125774" y="479170"/>
                    <a:pt x="171687" y="526624"/>
                  </a:cubicBezTo>
                  <a:cubicBezTo>
                    <a:pt x="220498" y="577100"/>
                    <a:pt x="247386" y="643456"/>
                    <a:pt x="247386" y="713482"/>
                  </a:cubicBezTo>
                  <a:cubicBezTo>
                    <a:pt x="247386" y="783507"/>
                    <a:pt x="220498" y="849894"/>
                    <a:pt x="171687" y="900339"/>
                  </a:cubicBezTo>
                  <a:cubicBezTo>
                    <a:pt x="125774" y="947794"/>
                    <a:pt x="65184" y="976378"/>
                    <a:pt x="0" y="981558"/>
                  </a:cubicBezTo>
                  <a:lnTo>
                    <a:pt x="0" y="1426964"/>
                  </a:lnTo>
                  <a:cubicBezTo>
                    <a:pt x="382842" y="1415493"/>
                    <a:pt x="692237" y="1097989"/>
                    <a:pt x="692237" y="713482"/>
                  </a:cubicBezTo>
                  <a:cubicBezTo>
                    <a:pt x="692237" y="328974"/>
                    <a:pt x="382842" y="11501"/>
                    <a:pt x="0" y="0"/>
                  </a:cubicBezTo>
                  <a:close/>
                </a:path>
              </a:pathLst>
            </a:custGeom>
            <a:solidFill>
              <a:schemeClr val="bg2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Textfeld 2">
              <a:extLst>
                <a:ext uri="{FF2B5EF4-FFF2-40B4-BE49-F238E27FC236}">
                  <a16:creationId xmlns:a16="http://schemas.microsoft.com/office/drawing/2014/main" id="{C00D7186-243B-B3FE-B45C-DC8047FCC1E6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3676824" y="1465550"/>
              <a:ext cx="1869718" cy="187037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>
                  <a:gd name="adj" fmla="val 355666"/>
                </a:avLst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 ipsum</a:t>
              </a:r>
            </a:p>
          </p:txBody>
        </p:sp>
        <p:sp>
          <p:nvSpPr>
            <p:cNvPr id="41" name="Textfeld 1">
              <a:extLst>
                <a:ext uri="{FF2B5EF4-FFF2-40B4-BE49-F238E27FC236}">
                  <a16:creationId xmlns:a16="http://schemas.microsoft.com/office/drawing/2014/main" id="{E77455AD-E32A-9688-AAF8-0B67B7BA1FE7}"/>
                </a:ext>
              </a:extLst>
            </p:cNvPr>
            <p:cNvSpPr txBox="1">
              <a:spLocks/>
            </p:cNvSpPr>
            <p:nvPr/>
          </p:nvSpPr>
          <p:spPr>
            <a:xfrm rot="16200000">
              <a:off x="3676824" y="1465550"/>
              <a:ext cx="1869718" cy="187037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>
                  <a:gd name="adj" fmla="val 355666"/>
                </a:avLst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ea typeface="Verdana" pitchFamily="34" charset="0"/>
                  <a:cs typeface="Verdana" pitchFamily="34" charset="0"/>
                </a:rPr>
                <a:t>Lorem ipsum</a:t>
              </a:r>
            </a:p>
          </p:txBody>
        </p:sp>
        <p:sp>
          <p:nvSpPr>
            <p:cNvPr id="69" name="02">
              <a:extLst>
                <a:ext uri="{FF2B5EF4-FFF2-40B4-BE49-F238E27FC236}">
                  <a16:creationId xmlns:a16="http://schemas.microsoft.com/office/drawing/2014/main" id="{8BCA96D8-F807-99C7-2FB2-FAC53B4B5B56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4254545" y="2043726"/>
              <a:ext cx="714276" cy="714024"/>
            </a:xfrm>
            <a:prstGeom prst="ellipse">
              <a:avLst/>
            </a:prstGeom>
            <a:noFill/>
            <a:ln w="6350">
              <a:solidFill>
                <a:schemeClr val="accent5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lang="en-US">
                  <a:solidFill>
                    <a:schemeClr val="tx2"/>
                  </a:solidFill>
                  <a:sym typeface="Futura"/>
                </a:rPr>
                <a:t>02</a:t>
              </a:r>
              <a:endParaRPr lang="en-US" sz="1200" b="1">
                <a:solidFill>
                  <a:schemeClr val="accent1"/>
                </a:solidFill>
                <a:sym typeface="Futura"/>
              </a:endParaRPr>
            </a:p>
          </p:txBody>
        </p:sp>
      </p:grpSp>
      <p:sp>
        <p:nvSpPr>
          <p:cNvPr id="77" name="Text Placeholder 15">
            <a:extLst>
              <a:ext uri="{FF2B5EF4-FFF2-40B4-BE49-F238E27FC236}">
                <a16:creationId xmlns:a16="http://schemas.microsoft.com/office/drawing/2014/main" id="{2E02C384-0450-ACB8-F850-04EB2401C7D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55491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circles, segment</a:t>
            </a:r>
          </a:p>
        </p:txBody>
      </p:sp>
    </p:spTree>
    <p:extLst>
      <p:ext uri="{BB962C8B-B14F-4D97-AF65-F5344CB8AC3E}">
        <p14:creationId xmlns:p14="http://schemas.microsoft.com/office/powerpoint/2010/main" val="31464209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